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18"/>
  </p:notesMasterIdLst>
  <p:sldIdLst>
    <p:sldId id="256" r:id="rId6"/>
    <p:sldId id="4144" r:id="rId7"/>
    <p:sldId id="4140" r:id="rId8"/>
    <p:sldId id="316" r:id="rId9"/>
    <p:sldId id="4145" r:id="rId10"/>
    <p:sldId id="4136" r:id="rId11"/>
    <p:sldId id="4143" r:id="rId12"/>
    <p:sldId id="360" r:id="rId13"/>
    <p:sldId id="363" r:id="rId14"/>
    <p:sldId id="361" r:id="rId15"/>
    <p:sldId id="362" r:id="rId16"/>
    <p:sldId id="312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A74A"/>
    <a:srgbClr val="1E3860"/>
    <a:srgbClr val="4A7095"/>
    <a:srgbClr val="F4F4F4"/>
    <a:srgbClr val="FFFFFF"/>
    <a:srgbClr val="B9CBE9"/>
    <a:srgbClr val="2C4F78"/>
    <a:srgbClr val="10274D"/>
    <a:srgbClr val="DAE8ED"/>
    <a:srgbClr val="467A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04" autoAdjust="0"/>
    <p:restoredTop sz="82769" autoAdjust="0"/>
  </p:normalViewPr>
  <p:slideViewPr>
    <p:cSldViewPr snapToGrid="0">
      <p:cViewPr varScale="1">
        <p:scale>
          <a:sx n="66" d="100"/>
          <a:sy n="66" d="100"/>
        </p:scale>
        <p:origin x="45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237A05-E6FB-42E6-98F7-E1C9FEC50BED}" type="datetimeFigureOut">
              <a:rPr lang="en-US" smtClean="0"/>
              <a:t>3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428F6A-B97F-4786-8AFF-1B89783862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45876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428F6A-B97F-4786-8AFF-1B897838625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0185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428F6A-B97F-4786-8AFF-1B897838625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7196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428F6A-B97F-4786-8AFF-1B897838625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36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428F6A-B97F-4786-8AFF-1B897838625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57351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428F6A-B97F-4786-8AFF-1B897838625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9113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7.gif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5.png"/><Relationship Id="rId5" Type="http://schemas.openxmlformats.org/officeDocument/2006/relationships/image" Target="../media/image8.gif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12B2E-FA2D-A4F8-0B3E-82304E83C9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3FF660-1983-A995-EC70-77B364D044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EE4D60-907E-AC10-9D8D-4BCFF23B9D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9CD-AFF9-4389-8763-7DDB1B83A6BA}" type="datetimeFigureOut">
              <a:rPr lang="en-US" smtClean="0"/>
              <a:t>3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D6628-F04C-4CA8-42C7-A59DCED776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CC4EFB-F0CD-0363-3DA1-CF354E2AA3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B34CB-323B-4185-BABE-45ACA2AC3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0158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C1C0A7-38D8-DE83-EC59-F564BE877C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D95680B-0A4A-D5F6-B0A1-83D28CD7B2A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59F030-A9DB-1FCD-A964-332F65CDF6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9CD-AFF9-4389-8763-7DDB1B83A6BA}" type="datetimeFigureOut">
              <a:rPr lang="en-US" smtClean="0"/>
              <a:t>3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195FFE-CA9F-AEB5-FC65-BB9B46AB77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CBB53E-0A7A-F013-ADD4-38030E78F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B34CB-323B-4185-BABE-45ACA2AC3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9741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C6D45DA-AEF4-AB82-B709-56EAAEA318D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95E5A0-363F-5F7F-A159-ACCD85EC12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39F3A4-6BC6-8097-3DCD-CF0688C9D9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9CD-AFF9-4389-8763-7DDB1B83A6BA}" type="datetimeFigureOut">
              <a:rPr lang="en-US" smtClean="0"/>
              <a:t>3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6DB833-B1AC-7772-5280-53B24881E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682DF1-3FC1-FB7C-ED9E-109173113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B34CB-323B-4185-BABE-45ACA2AC3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5625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7" b="3355"/>
          <a:stretch/>
        </p:blipFill>
        <p:spPr>
          <a:xfrm>
            <a:off x="0" y="583843"/>
            <a:ext cx="12192000" cy="5151549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823" y="2118"/>
          <a:ext cx="2823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23" y="2118"/>
                        <a:ext cx="2823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 bwMode="blackWhite">
          <a:xfrm>
            <a:off x="387498" y="1238247"/>
            <a:ext cx="8462338" cy="5004511"/>
          </a:xfrm>
          <a:prstGeom prst="rect">
            <a:avLst/>
          </a:prstGeom>
          <a:solidFill>
            <a:srgbClr val="1E3860">
              <a:alpha val="7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Century Gothic" panose="020B0502020202020204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497" y="5989604"/>
            <a:ext cx="2438400" cy="64281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700315" y="4242512"/>
            <a:ext cx="8037287" cy="121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3333" kern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entury Gothic" panose="020B0502020202020204" pitchFamily="34" charset="0"/>
              </a:defRPr>
            </a:lvl1pPr>
            <a:lvl2pPr>
              <a:defRPr lang="en-US" sz="3333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lang="en-US" sz="3333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lang="en-US" sz="3333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lang="en-US" sz="3333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99911" y="5695666"/>
            <a:ext cx="8037689" cy="547092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lang="en-US" sz="1600" kern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entury Gothic" panose="020B0502020202020204" pitchFamily="34" charset="0"/>
              </a:defRPr>
            </a:lvl1pPr>
            <a:lvl2pPr>
              <a:defRPr lang="en-US" sz="16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lang="en-US" sz="16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lang="en-US" sz="16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lang="en-US" sz="16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98819" y="6242759"/>
            <a:ext cx="8038782" cy="4233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600" kern="1200" smtClean="0">
                <a:solidFill>
                  <a:schemeClr val="tx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entury Gothic" panose="020B0502020202020204" pitchFamily="34" charset="0"/>
              </a:defRPr>
            </a:lvl1pPr>
            <a:lvl2pPr>
              <a:defRPr lang="en-US" sz="16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lang="en-US" sz="16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lang="en-US" sz="16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lang="en-US"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9453035" y="5969211"/>
            <a:ext cx="2544864" cy="4633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33" dirty="0">
              <a:solidFill>
                <a:schemeClr val="accent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497" y="5989604"/>
            <a:ext cx="2336839" cy="39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4851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575201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82222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1" i="0" baseline="0" dirty="0">
              <a:latin typeface="Century Gothic" panose="020B050202020202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457916" y="133027"/>
            <a:ext cx="9860681" cy="7127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457911" y="1270717"/>
            <a:ext cx="11255300" cy="4855447"/>
          </a:xfrm>
          <a:prstGeom prst="rect">
            <a:avLst/>
          </a:prstGeom>
        </p:spPr>
        <p:txBody>
          <a:bodyPr/>
          <a:lstStyle>
            <a:lvl1pPr marL="304792" indent="-304792">
              <a:defRPr lang="en-US" sz="1333" kern="1200" dirty="0" smtClean="0">
                <a:solidFill>
                  <a:schemeClr val="accent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entury Gothic" panose="020B0502020202020204" pitchFamily="34" charset="0"/>
                <a:sym typeface="Arial" panose="020B0604020202020204" pitchFamily="34" charset="0"/>
              </a:defRPr>
            </a:lvl1pPr>
            <a:lvl2pPr marL="609585" indent="-304792">
              <a:defRPr sz="1333">
                <a:solidFill>
                  <a:schemeClr val="accent1"/>
                </a:solidFill>
                <a:latin typeface="Century Gothic" panose="020B0502020202020204" pitchFamily="34" charset="0"/>
              </a:defRPr>
            </a:lvl2pPr>
            <a:lvl3pPr marL="914377" indent="-304792">
              <a:defRPr sz="1200">
                <a:solidFill>
                  <a:schemeClr val="accent1"/>
                </a:solidFill>
                <a:latin typeface="Century Gothic" panose="020B0502020202020204" pitchFamily="34" charset="0"/>
              </a:defRPr>
            </a:lvl3pPr>
            <a:lvl4pPr marL="1219170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4pPr>
            <a:lvl5pPr marL="1523962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5pPr>
            <a:lvl6pPr marL="1828754" indent="-304792">
              <a:defRPr sz="800">
                <a:solidFill>
                  <a:schemeClr val="accent1"/>
                </a:solidFill>
                <a:latin typeface="Century Gothic" panose="020B0502020202020204" pitchFamily="34" charset="0"/>
              </a:defRPr>
            </a:lvl6pPr>
          </a:lstStyle>
          <a:p>
            <a:pPr marL="304792" lvl="0" indent="-304792" algn="l" defTabSz="457189" rtl="0" eaLnBrk="1" latinLnBrk="0" hangingPunct="1">
              <a:spcBef>
                <a:spcPct val="20000"/>
              </a:spcBef>
              <a:buFontTx/>
              <a:buBlip>
                <a:blip r:embed="rId6"/>
              </a:buBlip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457200" y="845769"/>
            <a:ext cx="11256011" cy="4249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2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90530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823" y="2118"/>
          <a:ext cx="2823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23" y="2118"/>
                        <a:ext cx="2823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82222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1" i="0" baseline="0" dirty="0">
              <a:latin typeface="Century Gothic" panose="020B050202020202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6157423" y="1270716"/>
            <a:ext cx="5555788" cy="4856163"/>
          </a:xfrm>
          <a:prstGeom prst="rect">
            <a:avLst/>
          </a:prstGeom>
        </p:spPr>
        <p:txBody>
          <a:bodyPr/>
          <a:lstStyle>
            <a:lvl1pPr marL="304792" indent="-304792">
              <a:defRPr lang="en-US" sz="1333" kern="1200" dirty="0" smtClean="0">
                <a:solidFill>
                  <a:schemeClr val="accent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entury Gothic" panose="020B0502020202020204" pitchFamily="34" charset="0"/>
                <a:sym typeface="Arial" panose="020B0604020202020204" pitchFamily="34" charset="0"/>
              </a:defRPr>
            </a:lvl1pPr>
            <a:lvl2pPr marL="609585" indent="-304792">
              <a:defRPr sz="1333">
                <a:solidFill>
                  <a:schemeClr val="accent1"/>
                </a:solidFill>
                <a:latin typeface="Century Gothic" panose="020B0502020202020204" pitchFamily="34" charset="0"/>
              </a:defRPr>
            </a:lvl2pPr>
            <a:lvl3pPr marL="914377" indent="-304792">
              <a:defRPr sz="1200">
                <a:solidFill>
                  <a:schemeClr val="accent1"/>
                </a:solidFill>
                <a:latin typeface="Century Gothic" panose="020B0502020202020204" pitchFamily="34" charset="0"/>
              </a:defRPr>
            </a:lvl3pPr>
            <a:lvl4pPr marL="1219170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4pPr>
            <a:lvl5pPr marL="1523962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5pPr>
            <a:lvl6pPr marL="1828754" indent="-304792">
              <a:defRPr sz="800">
                <a:solidFill>
                  <a:schemeClr val="accent1"/>
                </a:solidFill>
                <a:latin typeface="Century Gothic" panose="020B0502020202020204" pitchFamily="34" charset="0"/>
              </a:defRPr>
            </a:lvl6pPr>
          </a:lstStyle>
          <a:p>
            <a:pPr marL="304792" lvl="0" indent="-304792" algn="l" defTabSz="457189" rtl="0" eaLnBrk="1" latinLnBrk="0" hangingPunct="1">
              <a:spcBef>
                <a:spcPct val="20000"/>
              </a:spcBef>
              <a:buFontTx/>
              <a:buBlip>
                <a:blip r:embed="rId6"/>
              </a:buBlip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457916" y="1270716"/>
            <a:ext cx="5555788" cy="4856163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457916" y="133027"/>
            <a:ext cx="9860681" cy="7127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457200" y="845769"/>
            <a:ext cx="11256011" cy="4249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2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3115" y="233561"/>
            <a:ext cx="1434386" cy="241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869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823" y="2118"/>
          <a:ext cx="2823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23" y="2118"/>
                        <a:ext cx="2823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82222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1" i="0" baseline="0" dirty="0">
              <a:latin typeface="Century Gothic" panose="020B050202020202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457912" y="1270717"/>
            <a:ext cx="5555788" cy="4855447"/>
          </a:xfrm>
          <a:prstGeom prst="rect">
            <a:avLst/>
          </a:prstGeom>
        </p:spPr>
        <p:txBody>
          <a:bodyPr/>
          <a:lstStyle>
            <a:lvl1pPr marL="304792" indent="-304792">
              <a:defRPr lang="en-US" sz="1333" kern="1200" dirty="0" smtClean="0">
                <a:solidFill>
                  <a:schemeClr val="accent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entury Gothic" panose="020B0502020202020204" pitchFamily="34" charset="0"/>
                <a:sym typeface="Arial" panose="020B0604020202020204" pitchFamily="34" charset="0"/>
              </a:defRPr>
            </a:lvl1pPr>
            <a:lvl2pPr marL="609585" indent="-304792">
              <a:defRPr sz="1333">
                <a:solidFill>
                  <a:schemeClr val="accent1"/>
                </a:solidFill>
                <a:latin typeface="Century Gothic" panose="020B0502020202020204" pitchFamily="34" charset="0"/>
              </a:defRPr>
            </a:lvl2pPr>
            <a:lvl3pPr marL="914377" indent="-304792">
              <a:defRPr sz="1200">
                <a:solidFill>
                  <a:schemeClr val="accent1"/>
                </a:solidFill>
                <a:latin typeface="Century Gothic" panose="020B0502020202020204" pitchFamily="34" charset="0"/>
              </a:defRPr>
            </a:lvl3pPr>
            <a:lvl4pPr marL="1219170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4pPr>
            <a:lvl5pPr marL="1523962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5pPr>
            <a:lvl6pPr marL="1828754" indent="-304792">
              <a:defRPr sz="800">
                <a:solidFill>
                  <a:schemeClr val="accent1"/>
                </a:solidFill>
                <a:latin typeface="Century Gothic" panose="020B0502020202020204" pitchFamily="34" charset="0"/>
              </a:defRPr>
            </a:lvl6pPr>
          </a:lstStyle>
          <a:p>
            <a:pPr marL="304792" lvl="0" indent="-304792" algn="l" defTabSz="457189" rtl="0" eaLnBrk="1" latinLnBrk="0" hangingPunct="1">
              <a:spcBef>
                <a:spcPct val="20000"/>
              </a:spcBef>
              <a:buFontTx/>
              <a:buBlip>
                <a:blip r:embed="rId6"/>
              </a:buBlip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457916" y="133027"/>
            <a:ext cx="9860681" cy="7127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457200" y="845769"/>
            <a:ext cx="11256011" cy="4249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2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8"/>
          </p:nvPr>
        </p:nvSpPr>
        <p:spPr>
          <a:xfrm>
            <a:off x="6110111" y="1270715"/>
            <a:ext cx="5603099" cy="4855447"/>
          </a:xfrm>
          <a:prstGeom prst="rect">
            <a:avLst/>
          </a:prstGeom>
        </p:spPr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3115" y="233561"/>
            <a:ext cx="1434386" cy="241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8798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823" y="2118"/>
          <a:ext cx="2823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23" y="2118"/>
                        <a:ext cx="2823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82222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1" i="0" baseline="0" dirty="0">
              <a:latin typeface="Century Gothic" panose="020B050202020202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457912" y="1270717"/>
            <a:ext cx="5555788" cy="3412796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457912" y="4795024"/>
            <a:ext cx="5555788" cy="1561171"/>
          </a:xfrm>
          <a:prstGeom prst="rect">
            <a:avLst/>
          </a:prstGeom>
        </p:spPr>
        <p:txBody>
          <a:bodyPr/>
          <a:lstStyle>
            <a:lvl1pPr marL="304792" indent="-304792">
              <a:defRPr lang="en-US" sz="1333" kern="1200" dirty="0" smtClean="0">
                <a:solidFill>
                  <a:schemeClr val="accent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entury Gothic" panose="020B0502020202020204" pitchFamily="34" charset="0"/>
                <a:sym typeface="Arial" panose="020B0604020202020204" pitchFamily="34" charset="0"/>
              </a:defRPr>
            </a:lvl1pPr>
            <a:lvl2pPr marL="609585" indent="-304792">
              <a:defRPr sz="1333">
                <a:solidFill>
                  <a:schemeClr val="accent1"/>
                </a:solidFill>
                <a:latin typeface="Century Gothic" panose="020B0502020202020204" pitchFamily="34" charset="0"/>
              </a:defRPr>
            </a:lvl2pPr>
            <a:lvl3pPr marL="914377" indent="-304792">
              <a:defRPr sz="1200">
                <a:solidFill>
                  <a:schemeClr val="accent1"/>
                </a:solidFill>
                <a:latin typeface="Century Gothic" panose="020B0502020202020204" pitchFamily="34" charset="0"/>
              </a:defRPr>
            </a:lvl3pPr>
            <a:lvl4pPr marL="1219170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4pPr>
            <a:lvl5pPr marL="1523962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5pPr>
            <a:lvl6pPr marL="1828754" indent="-304792">
              <a:defRPr sz="800">
                <a:solidFill>
                  <a:schemeClr val="accent1"/>
                </a:solidFill>
                <a:latin typeface="Century Gothic" panose="020B0502020202020204" pitchFamily="34" charset="0"/>
              </a:defRPr>
            </a:lvl6pPr>
          </a:lstStyle>
          <a:p>
            <a:pPr marL="304792" lvl="0" indent="-304792" algn="l" defTabSz="457189" rtl="0" eaLnBrk="1" latinLnBrk="0" hangingPunct="1">
              <a:spcBef>
                <a:spcPct val="20000"/>
              </a:spcBef>
              <a:buFontTx/>
              <a:buBlip>
                <a:blip r:embed="rId6"/>
              </a:buBlip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9" name="Title 13"/>
          <p:cNvSpPr>
            <a:spLocks noGrp="1"/>
          </p:cNvSpPr>
          <p:nvPr>
            <p:ph type="title"/>
          </p:nvPr>
        </p:nvSpPr>
        <p:spPr>
          <a:xfrm>
            <a:off x="457916" y="133027"/>
            <a:ext cx="9860681" cy="7127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457200" y="845769"/>
            <a:ext cx="11256011" cy="4249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6157423" y="1270717"/>
            <a:ext cx="5555788" cy="3412796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6157423" y="4795024"/>
            <a:ext cx="5555788" cy="1561171"/>
          </a:xfrm>
          <a:prstGeom prst="rect">
            <a:avLst/>
          </a:prstGeom>
        </p:spPr>
        <p:txBody>
          <a:bodyPr/>
          <a:lstStyle>
            <a:lvl1pPr marL="304792" indent="-304792">
              <a:defRPr lang="en-US" sz="1333" kern="1200" dirty="0" smtClean="0">
                <a:solidFill>
                  <a:schemeClr val="accent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entury Gothic" panose="020B0502020202020204" pitchFamily="34" charset="0"/>
                <a:sym typeface="Arial" panose="020B0604020202020204" pitchFamily="34" charset="0"/>
              </a:defRPr>
            </a:lvl1pPr>
            <a:lvl2pPr marL="609585" indent="-304792">
              <a:defRPr sz="1333">
                <a:solidFill>
                  <a:schemeClr val="accent1"/>
                </a:solidFill>
                <a:latin typeface="Century Gothic" panose="020B0502020202020204" pitchFamily="34" charset="0"/>
              </a:defRPr>
            </a:lvl2pPr>
            <a:lvl3pPr marL="914377" indent="-304792">
              <a:defRPr sz="1200">
                <a:solidFill>
                  <a:schemeClr val="accent1"/>
                </a:solidFill>
                <a:latin typeface="Century Gothic" panose="020B0502020202020204" pitchFamily="34" charset="0"/>
              </a:defRPr>
            </a:lvl3pPr>
            <a:lvl4pPr marL="1219170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4pPr>
            <a:lvl5pPr marL="1523962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5pPr>
            <a:lvl6pPr marL="1828754" indent="-304792">
              <a:defRPr sz="800">
                <a:solidFill>
                  <a:schemeClr val="accent1"/>
                </a:solidFill>
                <a:latin typeface="Century Gothic" panose="020B0502020202020204" pitchFamily="34" charset="0"/>
              </a:defRPr>
            </a:lvl6pPr>
          </a:lstStyle>
          <a:p>
            <a:pPr marL="304792" lvl="0" indent="-304792" algn="l" defTabSz="457189" rtl="0" eaLnBrk="1" latinLnBrk="0" hangingPunct="1">
              <a:spcBef>
                <a:spcPct val="20000"/>
              </a:spcBef>
              <a:buFontTx/>
              <a:buBlip>
                <a:blip r:embed="rId6"/>
              </a:buBlip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9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2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9560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196017"/>
              </p:ext>
            </p:extLst>
          </p:nvPr>
        </p:nvGraphicFramePr>
        <p:xfrm>
          <a:off x="2823" y="2118"/>
          <a:ext cx="2823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23" y="2118"/>
                        <a:ext cx="2823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82222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1" i="0" baseline="0" dirty="0">
              <a:latin typeface="Century Gothic" panose="020B050202020202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457912" y="1270717"/>
            <a:ext cx="11255305" cy="3412796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457912" y="4795024"/>
            <a:ext cx="11255305" cy="1561171"/>
          </a:xfrm>
          <a:prstGeom prst="rect">
            <a:avLst/>
          </a:prstGeom>
        </p:spPr>
        <p:txBody>
          <a:bodyPr/>
          <a:lstStyle>
            <a:lvl1pPr marL="304792" indent="-304792">
              <a:defRPr lang="en-US" sz="1333" kern="1200" dirty="0" smtClean="0">
                <a:solidFill>
                  <a:schemeClr val="accent1"/>
                </a:solidFill>
                <a:latin typeface="Century Gothic" panose="020B0502020202020204" pitchFamily="34" charset="0"/>
                <a:ea typeface="Verdana" panose="020B0604030504040204" pitchFamily="34" charset="0"/>
                <a:cs typeface="Century Gothic" panose="020B0502020202020204" pitchFamily="34" charset="0"/>
                <a:sym typeface="Arial" panose="020B0604020202020204" pitchFamily="34" charset="0"/>
              </a:defRPr>
            </a:lvl1pPr>
            <a:lvl2pPr marL="609585" indent="-304792">
              <a:defRPr sz="1333">
                <a:solidFill>
                  <a:schemeClr val="accent1"/>
                </a:solidFill>
                <a:latin typeface="Century Gothic" panose="020B0502020202020204" pitchFamily="34" charset="0"/>
              </a:defRPr>
            </a:lvl2pPr>
            <a:lvl3pPr marL="914377" indent="-304792">
              <a:defRPr sz="1200">
                <a:solidFill>
                  <a:schemeClr val="accent1"/>
                </a:solidFill>
                <a:latin typeface="Century Gothic" panose="020B0502020202020204" pitchFamily="34" charset="0"/>
              </a:defRPr>
            </a:lvl3pPr>
            <a:lvl4pPr marL="1219170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4pPr>
            <a:lvl5pPr marL="1523962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5pPr>
            <a:lvl6pPr marL="1828754" indent="-304792">
              <a:defRPr sz="800">
                <a:solidFill>
                  <a:schemeClr val="accent1"/>
                </a:solidFill>
                <a:latin typeface="Century Gothic" panose="020B0502020202020204" pitchFamily="34" charset="0"/>
              </a:defRPr>
            </a:lvl6pPr>
          </a:lstStyle>
          <a:p>
            <a:pPr marL="304792" lvl="0" indent="-304792" algn="l" defTabSz="457189" rtl="0" eaLnBrk="1" latinLnBrk="0" hangingPunct="1">
              <a:spcBef>
                <a:spcPct val="20000"/>
              </a:spcBef>
              <a:buFontTx/>
              <a:buBlip>
                <a:blip r:embed="rId6"/>
              </a:buBlip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9" name="Title 13"/>
          <p:cNvSpPr>
            <a:spLocks noGrp="1"/>
          </p:cNvSpPr>
          <p:nvPr>
            <p:ph type="title"/>
          </p:nvPr>
        </p:nvSpPr>
        <p:spPr>
          <a:xfrm>
            <a:off x="457916" y="133027"/>
            <a:ext cx="9860681" cy="7127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457200" y="845769"/>
            <a:ext cx="11256011" cy="4249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2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2229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823" y="2118"/>
          <a:ext cx="2823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23" y="2118"/>
                        <a:ext cx="2823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82222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1" i="0" baseline="0" dirty="0">
              <a:latin typeface="Century Gothic" panose="020B050202020202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457911" y="2943399"/>
            <a:ext cx="11255300" cy="3412796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457911" y="1270716"/>
            <a:ext cx="11255300" cy="1561171"/>
          </a:xfrm>
          <a:prstGeom prst="rect">
            <a:avLst/>
          </a:prstGeom>
        </p:spPr>
        <p:txBody>
          <a:bodyPr/>
          <a:lstStyle>
            <a:lvl1pPr marL="304792" indent="-304792">
              <a:defRPr sz="140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 sz="1333">
                <a:solidFill>
                  <a:schemeClr val="accent1"/>
                </a:solidFill>
                <a:latin typeface="Century Gothic" panose="020B0502020202020204" pitchFamily="34" charset="0"/>
              </a:defRPr>
            </a:lvl2pPr>
            <a:lvl3pPr marL="914377" indent="-304792">
              <a:defRPr sz="1200">
                <a:solidFill>
                  <a:schemeClr val="accent1"/>
                </a:solidFill>
                <a:latin typeface="Century Gothic" panose="020B0502020202020204" pitchFamily="34" charset="0"/>
              </a:defRPr>
            </a:lvl3pPr>
            <a:lvl4pPr marL="1219170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4pPr>
            <a:lvl5pPr marL="1523962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5pPr>
            <a:lvl6pPr marL="1828754" indent="-304792">
              <a:defRPr sz="800">
                <a:solidFill>
                  <a:schemeClr val="accent1"/>
                </a:solidFill>
                <a:latin typeface="Century Gothic" panose="020B050202020202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9" name="Title 13"/>
          <p:cNvSpPr>
            <a:spLocks noGrp="1"/>
          </p:cNvSpPr>
          <p:nvPr>
            <p:ph type="title"/>
          </p:nvPr>
        </p:nvSpPr>
        <p:spPr>
          <a:xfrm>
            <a:off x="457916" y="133027"/>
            <a:ext cx="9860681" cy="7127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457200" y="845769"/>
            <a:ext cx="11256011" cy="4249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2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3115" y="233561"/>
            <a:ext cx="1434386" cy="241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9992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Box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4041728"/>
              </p:ext>
            </p:extLst>
          </p:nvPr>
        </p:nvGraphicFramePr>
        <p:xfrm>
          <a:off x="2823" y="2118"/>
          <a:ext cx="2823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23" y="2118"/>
                        <a:ext cx="2823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82222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1" i="0" baseline="0" dirty="0">
              <a:latin typeface="Century Gothic" panose="020B050202020202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457911" y="2029522"/>
            <a:ext cx="11255300" cy="4096641"/>
          </a:xfrm>
          <a:prstGeom prst="rect">
            <a:avLst/>
          </a:prstGeom>
        </p:spPr>
        <p:txBody>
          <a:bodyPr/>
          <a:lstStyle>
            <a:lvl1pPr marL="304792" indent="-304792">
              <a:defRPr sz="140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 sz="1333">
                <a:solidFill>
                  <a:schemeClr val="accent1"/>
                </a:solidFill>
                <a:latin typeface="Century Gothic" panose="020B0502020202020204" pitchFamily="34" charset="0"/>
              </a:defRPr>
            </a:lvl2pPr>
            <a:lvl3pPr marL="914377" indent="-304792">
              <a:defRPr sz="1200">
                <a:solidFill>
                  <a:schemeClr val="accent1"/>
                </a:solidFill>
                <a:latin typeface="Century Gothic" panose="020B0502020202020204" pitchFamily="34" charset="0"/>
              </a:defRPr>
            </a:lvl3pPr>
            <a:lvl4pPr marL="1219170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4pPr>
            <a:lvl5pPr marL="1523962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5pPr>
            <a:lvl6pPr marL="1828754" indent="-304792">
              <a:defRPr sz="800">
                <a:solidFill>
                  <a:schemeClr val="accent1"/>
                </a:solidFill>
                <a:latin typeface="Century Gothic" panose="020B050202020202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457912" y="1270716"/>
            <a:ext cx="11255305" cy="647293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467" b="1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>
                <a:solidFill>
                  <a:schemeClr val="accent1"/>
                </a:solidFill>
              </a:defRPr>
            </a:lvl2pPr>
            <a:lvl3pPr marL="914377" indent="-304792">
              <a:defRPr>
                <a:solidFill>
                  <a:schemeClr val="accent1"/>
                </a:solidFill>
              </a:defRPr>
            </a:lvl3pPr>
            <a:lvl4pPr marL="1219170" indent="-304792">
              <a:defRPr>
                <a:solidFill>
                  <a:schemeClr val="accent1"/>
                </a:solidFill>
              </a:defRPr>
            </a:lvl4pPr>
            <a:lvl5pPr marL="1523962" indent="-304792">
              <a:defRPr>
                <a:solidFill>
                  <a:schemeClr val="accent1"/>
                </a:solidFill>
              </a:defRPr>
            </a:lvl5pPr>
            <a:lvl6pPr marL="1828754" indent="-304792">
              <a:defRPr sz="1067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57912" y="1918009"/>
            <a:ext cx="11255305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457916" y="133027"/>
            <a:ext cx="9860681" cy="7127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457200" y="845769"/>
            <a:ext cx="11256011" cy="4249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2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80258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0525E0-3922-090E-F257-A4F4E3EEF7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F383C1-5E60-85B4-B708-CCDF673731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91A54A-0FAE-338E-E056-F5DE7C4D5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9CD-AFF9-4389-8763-7DDB1B83A6BA}" type="datetimeFigureOut">
              <a:rPr lang="en-US" smtClean="0"/>
              <a:t>3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299E2F-0414-4755-DA47-68D98CAB37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C36FED-E251-E8FF-CB58-4CD2528CDF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B34CB-323B-4185-BABE-45ACA2AC3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3509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823" y="2118"/>
          <a:ext cx="2823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23" y="2118"/>
                        <a:ext cx="2823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82222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1" i="0" baseline="0" dirty="0">
              <a:latin typeface="Century Gothic" panose="020B050202020202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457912" y="2029522"/>
            <a:ext cx="5555788" cy="4096641"/>
          </a:xfrm>
          <a:prstGeom prst="rect">
            <a:avLst/>
          </a:prstGeom>
        </p:spPr>
        <p:txBody>
          <a:bodyPr/>
          <a:lstStyle>
            <a:lvl1pPr marL="304792" indent="-304792">
              <a:defRPr sz="140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 sz="1333">
                <a:solidFill>
                  <a:schemeClr val="accent1"/>
                </a:solidFill>
                <a:latin typeface="Century Gothic" panose="020B0502020202020204" pitchFamily="34" charset="0"/>
              </a:defRPr>
            </a:lvl2pPr>
            <a:lvl3pPr marL="914377" indent="-304792">
              <a:defRPr sz="1200">
                <a:solidFill>
                  <a:schemeClr val="accent1"/>
                </a:solidFill>
                <a:latin typeface="Century Gothic" panose="020B0502020202020204" pitchFamily="34" charset="0"/>
              </a:defRPr>
            </a:lvl3pPr>
            <a:lvl4pPr marL="1219170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4pPr>
            <a:lvl5pPr marL="1523962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5pPr>
            <a:lvl6pPr marL="1828754" indent="-304792">
              <a:defRPr sz="800">
                <a:solidFill>
                  <a:schemeClr val="accent1"/>
                </a:solidFill>
                <a:latin typeface="Century Gothic" panose="020B050202020202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6157429" y="2029522"/>
            <a:ext cx="5555788" cy="4096641"/>
          </a:xfrm>
          <a:prstGeom prst="rect">
            <a:avLst/>
          </a:prstGeom>
        </p:spPr>
        <p:txBody>
          <a:bodyPr/>
          <a:lstStyle>
            <a:lvl1pPr marL="304792" indent="-304792">
              <a:defRPr sz="140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 sz="1333">
                <a:solidFill>
                  <a:schemeClr val="accent1"/>
                </a:solidFill>
                <a:latin typeface="Century Gothic" panose="020B0502020202020204" pitchFamily="34" charset="0"/>
              </a:defRPr>
            </a:lvl2pPr>
            <a:lvl3pPr marL="914377" indent="-304792">
              <a:defRPr sz="1200">
                <a:solidFill>
                  <a:schemeClr val="accent1"/>
                </a:solidFill>
                <a:latin typeface="Century Gothic" panose="020B0502020202020204" pitchFamily="34" charset="0"/>
              </a:defRPr>
            </a:lvl3pPr>
            <a:lvl4pPr marL="1219170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4pPr>
            <a:lvl5pPr marL="1523962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5pPr>
            <a:lvl6pPr marL="1828754" indent="-304792">
              <a:defRPr sz="800">
                <a:solidFill>
                  <a:schemeClr val="accent1"/>
                </a:solidFill>
                <a:latin typeface="Century Gothic" panose="020B050202020202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457912" y="1270716"/>
            <a:ext cx="5555788" cy="647293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467" b="1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>
                <a:solidFill>
                  <a:schemeClr val="accent1"/>
                </a:solidFill>
              </a:defRPr>
            </a:lvl2pPr>
            <a:lvl3pPr marL="914377" indent="-304792">
              <a:defRPr>
                <a:solidFill>
                  <a:schemeClr val="accent1"/>
                </a:solidFill>
              </a:defRPr>
            </a:lvl3pPr>
            <a:lvl4pPr marL="1219170" indent="-304792">
              <a:defRPr>
                <a:solidFill>
                  <a:schemeClr val="accent1"/>
                </a:solidFill>
              </a:defRPr>
            </a:lvl4pPr>
            <a:lvl5pPr marL="1523962" indent="-304792">
              <a:defRPr>
                <a:solidFill>
                  <a:schemeClr val="accent1"/>
                </a:solidFill>
              </a:defRPr>
            </a:lvl5pPr>
            <a:lvl6pPr marL="1828754" indent="-304792">
              <a:defRPr sz="1067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6157429" y="1270716"/>
            <a:ext cx="5555788" cy="647293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467" b="1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>
                <a:solidFill>
                  <a:schemeClr val="accent1"/>
                </a:solidFill>
              </a:defRPr>
            </a:lvl2pPr>
            <a:lvl3pPr marL="914377" indent="-304792">
              <a:defRPr>
                <a:solidFill>
                  <a:schemeClr val="accent1"/>
                </a:solidFill>
              </a:defRPr>
            </a:lvl3pPr>
            <a:lvl4pPr marL="1219170" indent="-304792">
              <a:defRPr>
                <a:solidFill>
                  <a:schemeClr val="accent1"/>
                </a:solidFill>
              </a:defRPr>
            </a:lvl4pPr>
            <a:lvl5pPr marL="1523962" indent="-304792">
              <a:defRPr>
                <a:solidFill>
                  <a:schemeClr val="accent1"/>
                </a:solidFill>
              </a:defRPr>
            </a:lvl5pPr>
            <a:lvl6pPr marL="1828754" indent="-304792">
              <a:defRPr sz="1067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57912" y="1918009"/>
            <a:ext cx="5555788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6157429" y="1918009"/>
            <a:ext cx="5555788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457916" y="133027"/>
            <a:ext cx="9860681" cy="7127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457200" y="845769"/>
            <a:ext cx="11256011" cy="4249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2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75344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480303"/>
              </p:ext>
            </p:extLst>
          </p:nvPr>
        </p:nvGraphicFramePr>
        <p:xfrm>
          <a:off x="2823" y="2118"/>
          <a:ext cx="2823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23" y="2118"/>
                        <a:ext cx="2823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82222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1" i="0" baseline="0" dirty="0">
              <a:latin typeface="Century Gothic" panose="020B050202020202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457913" y="2029522"/>
            <a:ext cx="3695296" cy="4096641"/>
          </a:xfrm>
          <a:prstGeom prst="rect">
            <a:avLst/>
          </a:prstGeom>
        </p:spPr>
        <p:txBody>
          <a:bodyPr/>
          <a:lstStyle>
            <a:lvl1pPr marL="304792" indent="-304792">
              <a:defRPr sz="140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 sz="1333">
                <a:solidFill>
                  <a:schemeClr val="accent1"/>
                </a:solidFill>
                <a:latin typeface="Century Gothic" panose="020B0502020202020204" pitchFamily="34" charset="0"/>
              </a:defRPr>
            </a:lvl2pPr>
            <a:lvl3pPr marL="914377" indent="-304792">
              <a:defRPr sz="1200">
                <a:solidFill>
                  <a:schemeClr val="accent1"/>
                </a:solidFill>
                <a:latin typeface="Century Gothic" panose="020B0502020202020204" pitchFamily="34" charset="0"/>
              </a:defRPr>
            </a:lvl3pPr>
            <a:lvl4pPr marL="1219170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4pPr>
            <a:lvl5pPr marL="1523962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5pPr>
            <a:lvl6pPr marL="1828754" indent="-304792">
              <a:defRPr sz="800">
                <a:solidFill>
                  <a:schemeClr val="accent1"/>
                </a:solidFill>
                <a:latin typeface="Century Gothic" panose="020B050202020202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457913" y="1270716"/>
            <a:ext cx="3695296" cy="647293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467" b="1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>
                <a:solidFill>
                  <a:schemeClr val="accent1"/>
                </a:solidFill>
              </a:defRPr>
            </a:lvl2pPr>
            <a:lvl3pPr marL="914377" indent="-304792">
              <a:defRPr>
                <a:solidFill>
                  <a:schemeClr val="accent1"/>
                </a:solidFill>
              </a:defRPr>
            </a:lvl3pPr>
            <a:lvl4pPr marL="1219170" indent="-304792">
              <a:defRPr>
                <a:solidFill>
                  <a:schemeClr val="accent1"/>
                </a:solidFill>
              </a:defRPr>
            </a:lvl4pPr>
            <a:lvl5pPr marL="1523962" indent="-304792">
              <a:defRPr>
                <a:solidFill>
                  <a:schemeClr val="accent1"/>
                </a:solidFill>
              </a:defRPr>
            </a:lvl5pPr>
            <a:lvl6pPr marL="1828754" indent="-304792">
              <a:defRPr sz="1067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57911" y="1918009"/>
            <a:ext cx="3695296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3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4303845" y="2029522"/>
            <a:ext cx="3695296" cy="4096641"/>
          </a:xfrm>
          <a:prstGeom prst="rect">
            <a:avLst/>
          </a:prstGeom>
        </p:spPr>
        <p:txBody>
          <a:bodyPr/>
          <a:lstStyle>
            <a:lvl1pPr marL="304792" indent="-304792">
              <a:defRPr sz="140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 sz="1333">
                <a:solidFill>
                  <a:schemeClr val="accent1"/>
                </a:solidFill>
                <a:latin typeface="Century Gothic" panose="020B0502020202020204" pitchFamily="34" charset="0"/>
              </a:defRPr>
            </a:lvl2pPr>
            <a:lvl3pPr marL="914377" indent="-304792">
              <a:defRPr sz="1200">
                <a:solidFill>
                  <a:schemeClr val="accent1"/>
                </a:solidFill>
                <a:latin typeface="Century Gothic" panose="020B0502020202020204" pitchFamily="34" charset="0"/>
              </a:defRPr>
            </a:lvl3pPr>
            <a:lvl4pPr marL="1219170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4pPr>
            <a:lvl5pPr marL="1523962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5pPr>
            <a:lvl6pPr marL="1828754" indent="-304792">
              <a:defRPr sz="800">
                <a:solidFill>
                  <a:schemeClr val="accent1"/>
                </a:solidFill>
                <a:latin typeface="Century Gothic" panose="020B050202020202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4303845" y="1270716"/>
            <a:ext cx="3695296" cy="647293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467" b="1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>
                <a:solidFill>
                  <a:schemeClr val="accent1"/>
                </a:solidFill>
              </a:defRPr>
            </a:lvl2pPr>
            <a:lvl3pPr marL="914377" indent="-304792">
              <a:defRPr>
                <a:solidFill>
                  <a:schemeClr val="accent1"/>
                </a:solidFill>
              </a:defRPr>
            </a:lvl3pPr>
            <a:lvl4pPr marL="1219170" indent="-304792">
              <a:defRPr>
                <a:solidFill>
                  <a:schemeClr val="accent1"/>
                </a:solidFill>
              </a:defRPr>
            </a:lvl4pPr>
            <a:lvl5pPr marL="1523962" indent="-304792">
              <a:defRPr>
                <a:solidFill>
                  <a:schemeClr val="accent1"/>
                </a:solidFill>
              </a:defRPr>
            </a:lvl5pPr>
            <a:lvl6pPr marL="1828754" indent="-304792">
              <a:defRPr sz="1067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4303844" y="1918009"/>
            <a:ext cx="3695296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8149774" y="2029522"/>
            <a:ext cx="3695296" cy="4096641"/>
          </a:xfrm>
          <a:prstGeom prst="rect">
            <a:avLst/>
          </a:prstGeom>
        </p:spPr>
        <p:txBody>
          <a:bodyPr/>
          <a:lstStyle>
            <a:lvl1pPr marL="304792" indent="-304792">
              <a:defRPr sz="140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 sz="1333">
                <a:solidFill>
                  <a:schemeClr val="accent1"/>
                </a:solidFill>
                <a:latin typeface="Century Gothic" panose="020B0502020202020204" pitchFamily="34" charset="0"/>
              </a:defRPr>
            </a:lvl2pPr>
            <a:lvl3pPr marL="914377" indent="-304792">
              <a:defRPr sz="1200">
                <a:solidFill>
                  <a:schemeClr val="accent1"/>
                </a:solidFill>
                <a:latin typeface="Century Gothic" panose="020B0502020202020204" pitchFamily="34" charset="0"/>
              </a:defRPr>
            </a:lvl3pPr>
            <a:lvl4pPr marL="1219170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4pPr>
            <a:lvl5pPr marL="1523962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5pPr>
            <a:lvl6pPr marL="1828754" indent="-304792">
              <a:defRPr sz="800">
                <a:solidFill>
                  <a:schemeClr val="accent1"/>
                </a:solidFill>
                <a:latin typeface="Century Gothic" panose="020B050202020202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37" name="Text Placeholder 16"/>
          <p:cNvSpPr>
            <a:spLocks noGrp="1"/>
          </p:cNvSpPr>
          <p:nvPr>
            <p:ph type="body" sz="quarter" idx="20"/>
          </p:nvPr>
        </p:nvSpPr>
        <p:spPr>
          <a:xfrm>
            <a:off x="8149774" y="1270716"/>
            <a:ext cx="3695296" cy="647293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467" b="1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>
                <a:solidFill>
                  <a:schemeClr val="accent1"/>
                </a:solidFill>
              </a:defRPr>
            </a:lvl2pPr>
            <a:lvl3pPr marL="914377" indent="-304792">
              <a:defRPr>
                <a:solidFill>
                  <a:schemeClr val="accent1"/>
                </a:solidFill>
              </a:defRPr>
            </a:lvl3pPr>
            <a:lvl4pPr marL="1219170" indent="-304792">
              <a:defRPr>
                <a:solidFill>
                  <a:schemeClr val="accent1"/>
                </a:solidFill>
              </a:defRPr>
            </a:lvl4pPr>
            <a:lvl5pPr marL="1523962" indent="-304792">
              <a:defRPr>
                <a:solidFill>
                  <a:schemeClr val="accent1"/>
                </a:solidFill>
              </a:defRPr>
            </a:lvl5pPr>
            <a:lvl6pPr marL="1828754" indent="-304792">
              <a:defRPr sz="1067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8149772" y="1918009"/>
            <a:ext cx="3695296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9" name="Title 13"/>
          <p:cNvSpPr>
            <a:spLocks noGrp="1"/>
          </p:cNvSpPr>
          <p:nvPr>
            <p:ph type="title"/>
          </p:nvPr>
        </p:nvSpPr>
        <p:spPr>
          <a:xfrm>
            <a:off x="457916" y="133027"/>
            <a:ext cx="9860681" cy="7127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0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457200" y="845769"/>
            <a:ext cx="11256011" cy="4249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2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76912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71768"/>
              </p:ext>
            </p:extLst>
          </p:nvPr>
        </p:nvGraphicFramePr>
        <p:xfrm>
          <a:off x="2823" y="2118"/>
          <a:ext cx="2823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23" y="2118"/>
                        <a:ext cx="2823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82222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1" i="0" baseline="0" dirty="0">
              <a:latin typeface="Century Gothic" panose="020B050202020202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457912" y="2029522"/>
            <a:ext cx="5555788" cy="1791628"/>
          </a:xfrm>
          <a:prstGeom prst="rect">
            <a:avLst/>
          </a:prstGeom>
        </p:spPr>
        <p:txBody>
          <a:bodyPr/>
          <a:lstStyle>
            <a:lvl1pPr marL="304792" indent="-304792">
              <a:defRPr sz="1333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 sz="1333">
                <a:solidFill>
                  <a:schemeClr val="accent1"/>
                </a:solidFill>
                <a:latin typeface="Century Gothic" panose="020B0502020202020204" pitchFamily="34" charset="0"/>
              </a:defRPr>
            </a:lvl2pPr>
            <a:lvl3pPr marL="914377" indent="-304792">
              <a:defRPr sz="1200">
                <a:solidFill>
                  <a:schemeClr val="accent1"/>
                </a:solidFill>
                <a:latin typeface="Century Gothic" panose="020B0502020202020204" pitchFamily="34" charset="0"/>
              </a:defRPr>
            </a:lvl3pPr>
            <a:lvl4pPr marL="1219170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4pPr>
            <a:lvl5pPr marL="1523962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5pPr>
            <a:lvl6pPr marL="1828754" indent="-304792">
              <a:defRPr sz="800">
                <a:solidFill>
                  <a:schemeClr val="accent1"/>
                </a:solidFill>
                <a:latin typeface="Century Gothic" panose="020B050202020202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6157429" y="2029522"/>
            <a:ext cx="5555788" cy="1791628"/>
          </a:xfrm>
          <a:prstGeom prst="rect">
            <a:avLst/>
          </a:prstGeom>
        </p:spPr>
        <p:txBody>
          <a:bodyPr/>
          <a:lstStyle>
            <a:lvl1pPr marL="304792" indent="-304792">
              <a:defRPr sz="140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 sz="1333">
                <a:solidFill>
                  <a:schemeClr val="accent1"/>
                </a:solidFill>
                <a:latin typeface="Century Gothic" panose="020B0502020202020204" pitchFamily="34" charset="0"/>
              </a:defRPr>
            </a:lvl2pPr>
            <a:lvl3pPr marL="914377" indent="-304792">
              <a:defRPr sz="1200">
                <a:solidFill>
                  <a:schemeClr val="accent1"/>
                </a:solidFill>
                <a:latin typeface="Century Gothic" panose="020B0502020202020204" pitchFamily="34" charset="0"/>
              </a:defRPr>
            </a:lvl3pPr>
            <a:lvl4pPr marL="1219170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4pPr>
            <a:lvl5pPr marL="1523962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5pPr>
            <a:lvl6pPr marL="1828754" indent="-304792">
              <a:defRPr sz="800">
                <a:solidFill>
                  <a:schemeClr val="accent1"/>
                </a:solidFill>
                <a:latin typeface="Century Gothic" panose="020B050202020202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457912" y="1270716"/>
            <a:ext cx="5555788" cy="647293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467" b="1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>
                <a:solidFill>
                  <a:schemeClr val="accent1"/>
                </a:solidFill>
              </a:defRPr>
            </a:lvl2pPr>
            <a:lvl3pPr marL="914377" indent="-304792">
              <a:defRPr>
                <a:solidFill>
                  <a:schemeClr val="accent1"/>
                </a:solidFill>
              </a:defRPr>
            </a:lvl3pPr>
            <a:lvl4pPr marL="1219170" indent="-304792">
              <a:defRPr>
                <a:solidFill>
                  <a:schemeClr val="accent1"/>
                </a:solidFill>
              </a:defRPr>
            </a:lvl4pPr>
            <a:lvl5pPr marL="1523962" indent="-304792">
              <a:defRPr>
                <a:solidFill>
                  <a:schemeClr val="accent1"/>
                </a:solidFill>
              </a:defRPr>
            </a:lvl5pPr>
            <a:lvl6pPr marL="1828754" indent="-304792">
              <a:defRPr sz="1067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6157429" y="1270716"/>
            <a:ext cx="5555788" cy="647293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467" b="1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>
                <a:solidFill>
                  <a:schemeClr val="accent1"/>
                </a:solidFill>
              </a:defRPr>
            </a:lvl2pPr>
            <a:lvl3pPr marL="914377" indent="-304792">
              <a:defRPr>
                <a:solidFill>
                  <a:schemeClr val="accent1"/>
                </a:solidFill>
              </a:defRPr>
            </a:lvl3pPr>
            <a:lvl4pPr marL="1219170" indent="-304792">
              <a:defRPr>
                <a:solidFill>
                  <a:schemeClr val="accent1"/>
                </a:solidFill>
              </a:defRPr>
            </a:lvl4pPr>
            <a:lvl5pPr marL="1523962" indent="-304792">
              <a:defRPr>
                <a:solidFill>
                  <a:schemeClr val="accent1"/>
                </a:solidFill>
              </a:defRPr>
            </a:lvl5pPr>
            <a:lvl6pPr marL="1828754" indent="-304792">
              <a:defRPr sz="1067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57912" y="1918009"/>
            <a:ext cx="5555788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6157429" y="1918009"/>
            <a:ext cx="5555788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457912" y="4690946"/>
            <a:ext cx="5555788" cy="1791628"/>
          </a:xfrm>
          <a:prstGeom prst="rect">
            <a:avLst/>
          </a:prstGeom>
        </p:spPr>
        <p:txBody>
          <a:bodyPr/>
          <a:lstStyle>
            <a:lvl1pPr marL="304792" indent="-304792">
              <a:defRPr sz="140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 sz="1333">
                <a:solidFill>
                  <a:schemeClr val="accent1"/>
                </a:solidFill>
                <a:latin typeface="Century Gothic" panose="020B0502020202020204" pitchFamily="34" charset="0"/>
              </a:defRPr>
            </a:lvl2pPr>
            <a:lvl3pPr marL="914377" indent="-304792">
              <a:defRPr sz="1200">
                <a:solidFill>
                  <a:schemeClr val="accent1"/>
                </a:solidFill>
                <a:latin typeface="Century Gothic" panose="020B0502020202020204" pitchFamily="34" charset="0"/>
              </a:defRPr>
            </a:lvl3pPr>
            <a:lvl4pPr marL="1219170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4pPr>
            <a:lvl5pPr marL="1523962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5pPr>
            <a:lvl6pPr marL="1828754" indent="-304792">
              <a:defRPr sz="800">
                <a:solidFill>
                  <a:schemeClr val="accent1"/>
                </a:solidFill>
                <a:latin typeface="Century Gothic" panose="020B050202020202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6157429" y="4690946"/>
            <a:ext cx="5555788" cy="1791628"/>
          </a:xfrm>
          <a:prstGeom prst="rect">
            <a:avLst/>
          </a:prstGeom>
        </p:spPr>
        <p:txBody>
          <a:bodyPr/>
          <a:lstStyle>
            <a:lvl1pPr marL="304792" indent="-304792">
              <a:defRPr sz="140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 sz="1333">
                <a:solidFill>
                  <a:schemeClr val="accent1"/>
                </a:solidFill>
                <a:latin typeface="Century Gothic" panose="020B0502020202020204" pitchFamily="34" charset="0"/>
              </a:defRPr>
            </a:lvl2pPr>
            <a:lvl3pPr marL="914377" indent="-304792">
              <a:defRPr sz="1200">
                <a:solidFill>
                  <a:schemeClr val="accent1"/>
                </a:solidFill>
                <a:latin typeface="Century Gothic" panose="020B0502020202020204" pitchFamily="34" charset="0"/>
              </a:defRPr>
            </a:lvl3pPr>
            <a:lvl4pPr marL="1219170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4pPr>
            <a:lvl5pPr marL="1523962" indent="-304792">
              <a:defRPr sz="1067">
                <a:solidFill>
                  <a:schemeClr val="accent1"/>
                </a:solidFill>
                <a:latin typeface="Century Gothic" panose="020B0502020202020204" pitchFamily="34" charset="0"/>
              </a:defRPr>
            </a:lvl5pPr>
            <a:lvl6pPr marL="1828754" indent="-304792">
              <a:defRPr sz="800">
                <a:solidFill>
                  <a:schemeClr val="accent1"/>
                </a:solidFill>
                <a:latin typeface="Century Gothic" panose="020B050202020202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/>
          </p:nvPr>
        </p:nvSpPr>
        <p:spPr>
          <a:xfrm>
            <a:off x="457912" y="3932140"/>
            <a:ext cx="5555788" cy="647293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467" b="1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>
                <a:solidFill>
                  <a:schemeClr val="accent1"/>
                </a:solidFill>
              </a:defRPr>
            </a:lvl2pPr>
            <a:lvl3pPr marL="914377" indent="-304792">
              <a:defRPr>
                <a:solidFill>
                  <a:schemeClr val="accent1"/>
                </a:solidFill>
              </a:defRPr>
            </a:lvl3pPr>
            <a:lvl4pPr marL="1219170" indent="-304792">
              <a:defRPr>
                <a:solidFill>
                  <a:schemeClr val="accent1"/>
                </a:solidFill>
              </a:defRPr>
            </a:lvl4pPr>
            <a:lvl5pPr marL="1523962" indent="-304792">
              <a:defRPr>
                <a:solidFill>
                  <a:schemeClr val="accent1"/>
                </a:solidFill>
              </a:defRPr>
            </a:lvl5pPr>
            <a:lvl6pPr marL="1828754" indent="-304792">
              <a:defRPr sz="1067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6157429" y="3932140"/>
            <a:ext cx="5555788" cy="647293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467" b="1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609585" indent="-304792">
              <a:defRPr>
                <a:solidFill>
                  <a:schemeClr val="accent1"/>
                </a:solidFill>
              </a:defRPr>
            </a:lvl2pPr>
            <a:lvl3pPr marL="914377" indent="-304792">
              <a:defRPr>
                <a:solidFill>
                  <a:schemeClr val="accent1"/>
                </a:solidFill>
              </a:defRPr>
            </a:lvl3pPr>
            <a:lvl4pPr marL="1219170" indent="-304792">
              <a:defRPr>
                <a:solidFill>
                  <a:schemeClr val="accent1"/>
                </a:solidFill>
              </a:defRPr>
            </a:lvl4pPr>
            <a:lvl5pPr marL="1523962" indent="-304792">
              <a:defRPr>
                <a:solidFill>
                  <a:schemeClr val="accent1"/>
                </a:solidFill>
              </a:defRPr>
            </a:lvl5pPr>
            <a:lvl6pPr marL="1828754" indent="-304792">
              <a:defRPr sz="1067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457912" y="4579433"/>
            <a:ext cx="5555788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6157429" y="4579433"/>
            <a:ext cx="5555788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Title 13"/>
          <p:cNvSpPr>
            <a:spLocks noGrp="1"/>
          </p:cNvSpPr>
          <p:nvPr>
            <p:ph type="title"/>
          </p:nvPr>
        </p:nvSpPr>
        <p:spPr>
          <a:xfrm>
            <a:off x="457916" y="133027"/>
            <a:ext cx="9860681" cy="7127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4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457200" y="845769"/>
            <a:ext cx="11256011" cy="4249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2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2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3828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t Atten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4793853"/>
              </p:ext>
            </p:extLst>
          </p:nvPr>
        </p:nvGraphicFramePr>
        <p:xfrm>
          <a:off x="2823" y="2118"/>
          <a:ext cx="2823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823" y="2118"/>
                        <a:ext cx="2823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0" y="857251"/>
            <a:ext cx="12192000" cy="51435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37444" y="1159933"/>
            <a:ext cx="11298594" cy="44677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3733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2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50769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9354049"/>
              </p:ext>
            </p:extLst>
          </p:nvPr>
        </p:nvGraphicFramePr>
        <p:xfrm>
          <a:off x="2823" y="2118"/>
          <a:ext cx="2823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823" y="2118"/>
                        <a:ext cx="2823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 bwMode="hidden">
          <a:xfrm>
            <a:off x="0" y="857251"/>
            <a:ext cx="12192000" cy="5143500"/>
            <a:chOff x="0" y="642938"/>
            <a:chExt cx="6858000" cy="3857625"/>
          </a:xfrm>
        </p:grpSpPr>
        <p:pic>
          <p:nvPicPr>
            <p:cNvPr id="4" name="Picture 3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hidden">
            <a:xfrm>
              <a:off x="0" y="642938"/>
              <a:ext cx="6858000" cy="3857625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 userDrawn="1"/>
          </p:nvSpPr>
          <p:spPr bwMode="hidden">
            <a:xfrm>
              <a:off x="6012180" y="3997643"/>
              <a:ext cx="685800" cy="342900"/>
            </a:xfrm>
            <a:prstGeom prst="rect">
              <a:avLst/>
            </a:prstGeom>
            <a:solidFill>
              <a:srgbClr val="F4F4F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latin typeface="Century Gothic" panose="020B050202020202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10463114" y="233560"/>
            <a:ext cx="1488489" cy="255837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2447743" y="2841202"/>
            <a:ext cx="7285876" cy="810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4667" spc="-151" smtClean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  <a:lvl2pPr>
              <a:defRPr lang="en-US" sz="24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24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24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algn="ctr" defTabSz="609585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2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117489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0525E0-3922-090E-F257-A4F4E3EEF7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F383C1-5E60-85B4-B708-CCDF673731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91A54A-0FAE-338E-E056-F5DE7C4D5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9CD-AFF9-4389-8763-7DDB1B83A6BA}" type="datetimeFigureOut">
              <a:rPr lang="en-US" smtClean="0"/>
              <a:t>3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299E2F-0414-4755-DA47-68D98CAB37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C36FED-E251-E8FF-CB58-4CD2528CDF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B34CB-323B-4185-BABE-45ACA2AC3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2688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9724E6-ED5C-7A2D-21A4-AB348EA613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FD812A-2B67-E26C-51FD-CC7907A03E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98BF8C-AEDB-5375-0074-D0BBEB91B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9CD-AFF9-4389-8763-7DDB1B83A6BA}" type="datetimeFigureOut">
              <a:rPr lang="en-US" smtClean="0"/>
              <a:t>3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1A1580-B134-5C83-31E8-EB1E3A986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B612D8-76AE-C856-43F5-ABC418F719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B34CB-323B-4185-BABE-45ACA2AC3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8729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3898EE-9075-40BB-6566-8BCF1CDCC1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94021F-73AA-A86D-BA28-BF15F0F639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7B15ABB-CA70-E044-6C6A-944984DA86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51863A-665B-7028-2D37-4DD29CB0B3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9CD-AFF9-4389-8763-7DDB1B83A6BA}" type="datetimeFigureOut">
              <a:rPr lang="en-US" smtClean="0"/>
              <a:t>3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BBB987F-4684-B4CD-3B5F-F493AB33A4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1BBFD4-0FD3-5630-626B-40EBDA1669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B34CB-323B-4185-BABE-45ACA2AC3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2470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A750D-7166-FCF7-8C42-67B7F6712D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8D5712-32BF-6DCF-DF03-F5D2CEAAD6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756248-88F1-3F2B-9F3E-60D27C6A27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67DBB9-EC8A-7514-9027-A3171FA61A5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75BA2E-9FAC-A749-A37C-44DFC83BBC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E729A21-1C04-4625-6647-BA246E9693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9CD-AFF9-4389-8763-7DDB1B83A6BA}" type="datetimeFigureOut">
              <a:rPr lang="en-US" smtClean="0"/>
              <a:t>3/24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E1474F-CAFF-9279-9232-DEE4891A9C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39D0D9-0555-25FC-AB53-C0E00251D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B34CB-323B-4185-BABE-45ACA2AC3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837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0AD563-1406-58AB-E206-05D3F89AE7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6EF3BD0-37DC-50C3-E2CA-433E689E9A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9CD-AFF9-4389-8763-7DDB1B83A6BA}" type="datetimeFigureOut">
              <a:rPr lang="en-US" smtClean="0"/>
              <a:t>3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1BC75E-32D6-9D62-BD08-EA41132F1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D81701-41A3-5017-BF0C-308888037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B34CB-323B-4185-BABE-45ACA2AC3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3851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94C0EFB-C8E8-35CE-5817-D06CA81ADD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9CD-AFF9-4389-8763-7DDB1B83A6BA}" type="datetimeFigureOut">
              <a:rPr lang="en-US" smtClean="0"/>
              <a:t>3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08B8F0-0B28-2460-EC44-48363A8919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BF7DAA-8BC7-5BA6-D058-F378DC000A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B34CB-323B-4185-BABE-45ACA2AC3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2562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BBBA2A-A3C2-C568-4243-98310FD0B2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36A65-E6DE-668F-C2C3-A494F31FCB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193C70-1E20-29E7-0CC1-4890FB76A1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9EF7FB-0E23-6178-9AB5-DA4A82BAFB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9CD-AFF9-4389-8763-7DDB1B83A6BA}" type="datetimeFigureOut">
              <a:rPr lang="en-US" smtClean="0"/>
              <a:t>3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7B97963-E549-4A9F-E10F-193342DD8D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A30F9D-7FB7-A77C-19A7-1A49302323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B34CB-323B-4185-BABE-45ACA2AC3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5611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05D52B-2549-8477-2AC5-C3D5E65D2C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4C189A0-9FAD-ECCF-7125-FED35B91A6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742158-1A6D-7CB1-6F71-96A2E3A942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7FCAFC-3927-4BD3-3597-F3698ED18A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279CD-AFF9-4389-8763-7DDB1B83A6BA}" type="datetimeFigureOut">
              <a:rPr lang="en-US" smtClean="0"/>
              <a:t>3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AFB3A0-212E-62F1-AB3F-C99DC62F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9F0FE1-B972-7D16-9904-5FFD29D55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B34CB-323B-4185-BABE-45ACA2AC3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935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3DCFA1-DEF0-D4A0-98E9-17B7CE34D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0E8309-F6B7-F489-6FEF-D178923650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D9F3E7-546A-1FD7-4380-980AB6E43E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0279CD-AFF9-4389-8763-7DDB1B83A6BA}" type="datetimeFigureOut">
              <a:rPr lang="en-US" smtClean="0"/>
              <a:t>3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A82893-3D20-3B21-0A36-30A8F9B34A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2D9D82-4B06-68E5-7888-967B65C41D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DB34CB-323B-4185-BABE-45ACA2AC3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085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96994495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16" imgH="216" progId="TCLayout.ActiveDocument.1">
                  <p:embed/>
                </p:oleObj>
              </mc:Choice>
              <mc:Fallback>
                <p:oleObj name="think-cell Slide" r:id="rId17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200" smtClean="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algn="r"/>
            <a:fld id="{9EDC855F-5393-4ECC-82A4-1DDB6B23846B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797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6" r:id="rId3"/>
    <p:sldLayoutId id="2147483667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</p:sldLayoutIdLst>
  <p:hf hdr="0" ftr="0" dt="0"/>
  <p:txStyles>
    <p:titleStyle>
      <a:lvl1pPr algn="l" defTabSz="457189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Tx/>
        <a:buBlip>
          <a:blip r:embed="rId19"/>
        </a:buBlip>
        <a:defRPr sz="1600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1pPr>
      <a:lvl2pPr marL="742932" indent="-285744" algn="l" defTabSz="457189" rtl="0" eaLnBrk="1" latinLnBrk="0" hangingPunct="1">
        <a:spcBef>
          <a:spcPct val="20000"/>
        </a:spcBef>
        <a:buClr>
          <a:srgbClr val="1E3860"/>
        </a:buClr>
        <a:buFont typeface="Wingdings" panose="05000000000000000000" pitchFamily="2" charset="2"/>
        <a:buChar char="§"/>
        <a:defRPr sz="1467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2pPr>
      <a:lvl3pPr marL="1142971" indent="-228594" algn="l" defTabSz="457189" rtl="0" eaLnBrk="1" latinLnBrk="0" hangingPunct="1">
        <a:spcBef>
          <a:spcPct val="20000"/>
        </a:spcBef>
        <a:buFontTx/>
        <a:buBlip>
          <a:blip r:embed="rId19"/>
        </a:buBlip>
        <a:defRPr sz="1400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333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4pPr>
      <a:lvl5pPr marL="2057349" indent="-228594" algn="l" defTabSz="457189" rtl="0" eaLnBrk="1" latinLnBrk="0" hangingPunct="1">
        <a:spcBef>
          <a:spcPct val="20000"/>
        </a:spcBef>
        <a:buClr>
          <a:srgbClr val="FAA661"/>
        </a:buClr>
        <a:buFontTx/>
        <a:buBlip>
          <a:blip r:embed="rId19"/>
        </a:buBlip>
        <a:defRPr sz="1333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28000">
              <a:srgbClr val="1E3860"/>
            </a:gs>
            <a:gs pos="69000">
              <a:schemeClr val="accent1">
                <a:lumMod val="45000"/>
                <a:lumOff val="55000"/>
              </a:schemeClr>
            </a:gs>
            <a:gs pos="49000">
              <a:srgbClr val="4A7095"/>
            </a:gs>
            <a:gs pos="100000">
              <a:srgbClr val="FFFFFF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BF3D071-ED6F-8421-5033-DD1F52619FB4}"/>
              </a:ext>
            </a:extLst>
          </p:cNvPr>
          <p:cNvSpPr/>
          <p:nvPr/>
        </p:nvSpPr>
        <p:spPr>
          <a:xfrm>
            <a:off x="2030817" y="-350874"/>
            <a:ext cx="9356651" cy="7808225"/>
          </a:xfrm>
          <a:custGeom>
            <a:avLst/>
            <a:gdLst>
              <a:gd name="connsiteX0" fmla="*/ 0 w 2477256"/>
              <a:gd name="connsiteY0" fmla="*/ 4141086 h 4141086"/>
              <a:gd name="connsiteX1" fmla="*/ 924350 w 2477256"/>
              <a:gd name="connsiteY1" fmla="*/ 4141086 h 4141086"/>
              <a:gd name="connsiteX2" fmla="*/ 2477257 w 2477256"/>
              <a:gd name="connsiteY2" fmla="*/ 2070543 h 4141086"/>
              <a:gd name="connsiteX3" fmla="*/ 924350 w 2477256"/>
              <a:gd name="connsiteY3" fmla="*/ 0 h 4141086"/>
              <a:gd name="connsiteX4" fmla="*/ 0 w 2477256"/>
              <a:gd name="connsiteY4" fmla="*/ 0 h 4141086"/>
              <a:gd name="connsiteX5" fmla="*/ 1552907 w 2477256"/>
              <a:gd name="connsiteY5" fmla="*/ 2070543 h 4141086"/>
              <a:gd name="connsiteX6" fmla="*/ 0 w 2477256"/>
              <a:gd name="connsiteY6" fmla="*/ 4141086 h 4141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77256" h="4141086">
                <a:moveTo>
                  <a:pt x="0" y="4141086"/>
                </a:moveTo>
                <a:lnTo>
                  <a:pt x="924350" y="4141086"/>
                </a:lnTo>
                <a:lnTo>
                  <a:pt x="2477257" y="2070543"/>
                </a:lnTo>
                <a:lnTo>
                  <a:pt x="924350" y="0"/>
                </a:lnTo>
                <a:lnTo>
                  <a:pt x="0" y="0"/>
                </a:lnTo>
                <a:lnTo>
                  <a:pt x="1552907" y="2070543"/>
                </a:lnTo>
                <a:lnTo>
                  <a:pt x="0" y="4141086"/>
                </a:lnTo>
                <a:close/>
              </a:path>
            </a:pathLst>
          </a:custGeom>
          <a:solidFill>
            <a:schemeClr val="bg2">
              <a:alpha val="24000"/>
            </a:schemeClr>
          </a:solidFill>
          <a:ln w="7391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4D0B474-6E38-D62C-ABE5-9771A8668C22}"/>
              </a:ext>
            </a:extLst>
          </p:cNvPr>
          <p:cNvGrpSpPr/>
          <p:nvPr/>
        </p:nvGrpSpPr>
        <p:grpSpPr>
          <a:xfrm>
            <a:off x="9321758" y="371084"/>
            <a:ext cx="4455382" cy="875951"/>
            <a:chOff x="9321758" y="371084"/>
            <a:chExt cx="4455382" cy="875951"/>
          </a:xfrm>
        </p:grpSpPr>
        <p:pic>
          <p:nvPicPr>
            <p:cNvPr id="23" name="Picture 22" descr="A blue and yellow logo&#10;&#10;Description automatically generated">
              <a:extLst>
                <a:ext uri="{FF2B5EF4-FFF2-40B4-BE49-F238E27FC236}">
                  <a16:creationId xmlns:a16="http://schemas.microsoft.com/office/drawing/2014/main" id="{A3F5D523-6EBD-B26D-CF35-7F06940244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21758" y="371084"/>
              <a:ext cx="2387681" cy="546184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5A17912-F6E8-0C82-F0B1-029FA630C39E}"/>
                </a:ext>
              </a:extLst>
            </p:cNvPr>
            <p:cNvSpPr txBox="1"/>
            <p:nvPr/>
          </p:nvSpPr>
          <p:spPr>
            <a:xfrm>
              <a:off x="10225865" y="1000814"/>
              <a:ext cx="35512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kern="1500" spc="120" dirty="0">
                  <a:solidFill>
                    <a:srgbClr val="1E386A"/>
                  </a:solidFill>
                  <a:latin typeface="Libre Franklin" pitchFamily="2" charset="0"/>
                </a:rPr>
                <a:t>BUSINESS CENTER</a:t>
              </a: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FA0E9FB8-E723-9A9C-AC0C-921ECB61A711}"/>
              </a:ext>
            </a:extLst>
          </p:cNvPr>
          <p:cNvSpPr txBox="1"/>
          <p:nvPr/>
        </p:nvSpPr>
        <p:spPr>
          <a:xfrm>
            <a:off x="7502777" y="4685372"/>
            <a:ext cx="44098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echnology</a:t>
            </a:r>
          </a:p>
          <a:p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itial 9 Box Review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FB0955D-6527-424E-85A4-F74CDA4EA064}"/>
              </a:ext>
            </a:extLst>
          </p:cNvPr>
          <p:cNvSpPr txBox="1"/>
          <p:nvPr/>
        </p:nvSpPr>
        <p:spPr>
          <a:xfrm>
            <a:off x="7520249" y="5847854"/>
            <a:ext cx="491752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alerie Ann Martin</a:t>
            </a:r>
          </a:p>
          <a:p>
            <a:r>
              <a:rPr lang="en-US" sz="1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rch 2025</a:t>
            </a: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C6BE1BEA-91FB-91D6-A250-8470AA58BB08}"/>
              </a:ext>
            </a:extLst>
          </p:cNvPr>
          <p:cNvSpPr/>
          <p:nvPr/>
        </p:nvSpPr>
        <p:spPr>
          <a:xfrm flipV="1">
            <a:off x="7592093" y="5572548"/>
            <a:ext cx="2814287" cy="45719"/>
          </a:xfrm>
          <a:custGeom>
            <a:avLst/>
            <a:gdLst>
              <a:gd name="connsiteX0" fmla="*/ 0 w 333375"/>
              <a:gd name="connsiteY0" fmla="*/ 0 h 19050"/>
              <a:gd name="connsiteX1" fmla="*/ 333375 w 333375"/>
              <a:gd name="connsiteY1" fmla="*/ 0 h 19050"/>
              <a:gd name="connsiteX2" fmla="*/ 333375 w 333375"/>
              <a:gd name="connsiteY2" fmla="*/ 19050 h 19050"/>
              <a:gd name="connsiteX3" fmla="*/ 0 w 333375"/>
              <a:gd name="connsiteY3" fmla="*/ 19050 h 19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3375" h="19050">
                <a:moveTo>
                  <a:pt x="0" y="0"/>
                </a:moveTo>
                <a:lnTo>
                  <a:pt x="333375" y="0"/>
                </a:lnTo>
                <a:lnTo>
                  <a:pt x="333375" y="19050"/>
                </a:lnTo>
                <a:lnTo>
                  <a:pt x="0" y="19050"/>
                </a:lnTo>
                <a:close/>
              </a:path>
            </a:pathLst>
          </a:custGeom>
          <a:solidFill>
            <a:srgbClr val="FAA74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3129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F1BFAA-0A50-255A-1459-F4BD7E22B7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D8E10D-55A3-335D-7308-76AD06B4812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609585"/>
            <a:fld id="{9EDC855F-5393-4ECC-82A4-1DDB6B23846B}" type="slidenum">
              <a:rPr lang="en-US">
                <a:solidFill>
                  <a:srgbClr val="1E3860">
                    <a:tint val="75000"/>
                  </a:srgb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defTabSz="609585"/>
              <a:t>10</a:t>
            </a:fld>
            <a:endParaRPr lang="en-US" dirty="0">
              <a:solidFill>
                <a:srgbClr val="1E3860">
                  <a:tint val="75000"/>
                </a:srgb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46F794AD-0024-A96F-AE17-13786FD8DEBD}"/>
              </a:ext>
            </a:extLst>
          </p:cNvPr>
          <p:cNvSpPr/>
          <p:nvPr/>
        </p:nvSpPr>
        <p:spPr>
          <a:xfrm>
            <a:off x="3403226" y="6049375"/>
            <a:ext cx="5859721" cy="640963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>
              <a:lnSpc>
                <a:spcPct val="107000"/>
              </a:lnSpc>
              <a:spcAft>
                <a:spcPts val="1067"/>
              </a:spcAft>
            </a:pPr>
            <a:r>
              <a:rPr lang="en-US" sz="1867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oss Impact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EB1B51ED-4020-9A95-6638-C964C266DF9F}"/>
              </a:ext>
            </a:extLst>
          </p:cNvPr>
          <p:cNvSpPr/>
          <p:nvPr/>
        </p:nvSpPr>
        <p:spPr>
          <a:xfrm rot="16200000">
            <a:off x="-97570" y="3460613"/>
            <a:ext cx="4951919" cy="629440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>
              <a:lnSpc>
                <a:spcPct val="107000"/>
              </a:lnSpc>
              <a:spcAft>
                <a:spcPts val="1067"/>
              </a:spcAft>
            </a:pPr>
            <a:r>
              <a:rPr lang="en-US" sz="1867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en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E2BFB6A-410A-8F54-4AED-949178E94FB1}"/>
              </a:ext>
            </a:extLst>
          </p:cNvPr>
          <p:cNvSpPr/>
          <p:nvPr/>
        </p:nvSpPr>
        <p:spPr>
          <a:xfrm>
            <a:off x="7831461" y="1299367"/>
            <a:ext cx="2404129" cy="1521637"/>
          </a:xfrm>
          <a:prstGeom prst="rect">
            <a:avLst/>
          </a:prstGeom>
          <a:solidFill>
            <a:srgbClr val="EC849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. STRETCH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High Retention/High Loss Impact)</a:t>
            </a:r>
          </a:p>
          <a:p>
            <a:pPr algn="ctr" defTabSz="609585"/>
            <a:endParaRPr lang="en-US" sz="13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CEA9243-45F6-8C39-A5A3-87B46DDD885A}"/>
              </a:ext>
            </a:extLst>
          </p:cNvPr>
          <p:cNvSpPr/>
          <p:nvPr/>
        </p:nvSpPr>
        <p:spPr>
          <a:xfrm>
            <a:off x="5378882" y="1294644"/>
            <a:ext cx="2404129" cy="1521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8. STRETCH/DEVELOP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Moderate Retention/Moderate Loss Impact)</a:t>
            </a:r>
          </a:p>
          <a:p>
            <a:pPr algn="ctr" defTabSz="609585"/>
            <a:endParaRPr lang="en-US" sz="13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686FE10-FA32-6433-DE4C-331C4FBE93C6}"/>
              </a:ext>
            </a:extLst>
          </p:cNvPr>
          <p:cNvSpPr/>
          <p:nvPr/>
        </p:nvSpPr>
        <p:spPr>
          <a:xfrm>
            <a:off x="2926310" y="1299374"/>
            <a:ext cx="2404129" cy="15216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7. DEVELOP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High Retention/Low Loss Impact)</a:t>
            </a:r>
          </a:p>
          <a:p>
            <a:pPr algn="ctr" defTabSz="609585"/>
            <a:endParaRPr lang="en-US" sz="1333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 defTabSz="609585"/>
            <a:endParaRPr lang="en-US" sz="9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3D43BCB-2B12-C5F0-A746-948C01F66746}"/>
              </a:ext>
            </a:extLst>
          </p:cNvPr>
          <p:cNvSpPr/>
          <p:nvPr/>
        </p:nvSpPr>
        <p:spPr>
          <a:xfrm>
            <a:off x="7826738" y="2854078"/>
            <a:ext cx="2404129" cy="1521637"/>
          </a:xfrm>
          <a:prstGeom prst="rect">
            <a:avLst/>
          </a:prstGeom>
          <a:solidFill>
            <a:srgbClr val="CCFF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6. STRETCH/DEVELOP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Moderate Retention/High Loss Impact)</a:t>
            </a:r>
            <a:endParaRPr lang="en-US" sz="9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62F980E-45D7-381E-D06C-76D99EBBEF8A}"/>
              </a:ext>
            </a:extLst>
          </p:cNvPr>
          <p:cNvSpPr/>
          <p:nvPr/>
        </p:nvSpPr>
        <p:spPr>
          <a:xfrm>
            <a:off x="5374160" y="2858806"/>
            <a:ext cx="2404129" cy="1521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. DEVELOP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Moderate Retention/Moderate Loss Impact)</a:t>
            </a:r>
          </a:p>
          <a:p>
            <a:pPr algn="ctr" defTabSz="609585"/>
            <a:endParaRPr lang="en-US" sz="13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 defTabSz="609585"/>
            <a:endParaRPr lang="en-US" sz="13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8417E33-EF38-3BB3-2259-9EC476B0679A}"/>
              </a:ext>
            </a:extLst>
          </p:cNvPr>
          <p:cNvSpPr/>
          <p:nvPr/>
        </p:nvSpPr>
        <p:spPr>
          <a:xfrm>
            <a:off x="2921588" y="2863535"/>
            <a:ext cx="2404129" cy="1521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. OBSERVE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Moderate Retention/Low Loss Impact)</a:t>
            </a:r>
          </a:p>
          <a:p>
            <a:pPr algn="ctr" defTabSz="609585"/>
            <a:endParaRPr lang="en-US" sz="9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C1857F1-44B1-9963-81CD-BCE19CFE59B3}"/>
              </a:ext>
            </a:extLst>
          </p:cNvPr>
          <p:cNvSpPr/>
          <p:nvPr/>
        </p:nvSpPr>
        <p:spPr>
          <a:xfrm>
            <a:off x="7831468" y="4418243"/>
            <a:ext cx="2404129" cy="1521637"/>
          </a:xfrm>
          <a:prstGeom prst="rect">
            <a:avLst/>
          </a:prstGeom>
          <a:solidFill>
            <a:srgbClr val="FEF0D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. DEVELOP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High Retention/High Loss Impact)</a:t>
            </a:r>
            <a:endParaRPr lang="en-US" sz="9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0C2CEED-E7C7-F8DD-F83B-24CF3A63CF4B}"/>
              </a:ext>
            </a:extLst>
          </p:cNvPr>
          <p:cNvSpPr/>
          <p:nvPr/>
        </p:nvSpPr>
        <p:spPr>
          <a:xfrm>
            <a:off x="5378889" y="4422971"/>
            <a:ext cx="2404129" cy="1521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en-US" sz="933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. OBSERVE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Low Retention/Moderate Loss Impact)</a:t>
            </a:r>
          </a:p>
          <a:p>
            <a:pPr algn="ctr" defTabSz="609585"/>
            <a:endParaRPr lang="en-US" sz="9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B2A6759-CFE7-8037-0FDE-BA86796AE9FB}"/>
              </a:ext>
            </a:extLst>
          </p:cNvPr>
          <p:cNvSpPr/>
          <p:nvPr/>
        </p:nvSpPr>
        <p:spPr>
          <a:xfrm>
            <a:off x="2926317" y="4427700"/>
            <a:ext cx="2404129" cy="1521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04792" indent="-304792" algn="ctr" defTabSz="609585">
              <a:buFontTx/>
              <a:buAutoNum type="arabicPeriod"/>
            </a:pPr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BSERVE/EXIT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Low </a:t>
            </a:r>
            <a:r>
              <a:rPr lang="en-US" sz="933" dirty="0" err="1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entiont</a:t>
            </a:r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/Low Loss Impact)</a:t>
            </a:r>
          </a:p>
          <a:p>
            <a:pPr marL="304792" indent="-304792" algn="ctr" defTabSz="609585">
              <a:buFontTx/>
              <a:buAutoNum type="arabicPeriod"/>
            </a:pPr>
            <a:endParaRPr lang="en-US" sz="1600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FE7826B-2694-56DC-C163-50B3B454390D}"/>
              </a:ext>
            </a:extLst>
          </p:cNvPr>
          <p:cNvSpPr txBox="1">
            <a:spLocks/>
          </p:cNvSpPr>
          <p:nvPr/>
        </p:nvSpPr>
        <p:spPr>
          <a:xfrm>
            <a:off x="478789" y="737370"/>
            <a:ext cx="11466163" cy="426306"/>
          </a:xfrm>
          <a:prstGeom prst="rect">
            <a:avLst/>
          </a:prstGeom>
        </p:spPr>
        <p:txBody>
          <a:bodyPr/>
          <a:lstStyle>
            <a:lvl1pPr marL="0" indent="0" algn="l" defTabSz="342900" rtl="0" eaLnBrk="1" latinLnBrk="0" hangingPunct="1">
              <a:spcBef>
                <a:spcPct val="20000"/>
              </a:spcBef>
              <a:buFontTx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Clr>
                <a:srgbClr val="1E3860"/>
              </a:buClr>
              <a:buFont typeface="Wingdings" panose="05000000000000000000" pitchFamily="2" charset="2"/>
              <a:buChar char="§"/>
              <a:defRPr sz="1100" kern="1200">
                <a:solidFill>
                  <a:srgbClr val="17294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sz="1050" kern="1200">
                <a:solidFill>
                  <a:srgbClr val="17294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rgbClr val="17294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Clr>
                <a:srgbClr val="FAA661"/>
              </a:buClr>
              <a:buFontTx/>
              <a:buBlip>
                <a:blip r:embed="rId2"/>
              </a:buBlip>
              <a:defRPr sz="1000" kern="1200">
                <a:solidFill>
                  <a:srgbClr val="17294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r>
              <a:rPr lang="en-US" sz="1600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ention Risk by Loss Impact - </a:t>
            </a:r>
            <a:r>
              <a:rPr lang="en-US" sz="15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igh loss impact employees should be moderate-to high-performing; provide opportunity to identify incongruencies (inconsistencies).</a:t>
            </a:r>
          </a:p>
          <a:p>
            <a:pPr defTabSz="457189"/>
            <a:r>
              <a:rPr lang="en-US" sz="1600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DE337F8-9638-49D6-ED92-421211C15FCE}"/>
              </a:ext>
            </a:extLst>
          </p:cNvPr>
          <p:cNvSpPr txBox="1"/>
          <p:nvPr/>
        </p:nvSpPr>
        <p:spPr>
          <a:xfrm>
            <a:off x="478789" y="200777"/>
            <a:ext cx="1060123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dirty="0">
                <a:solidFill>
                  <a:srgbClr val="FAA74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BC 9 Box Review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CFDBE7F-CBB4-C7A3-077B-9D46301A7508}"/>
              </a:ext>
            </a:extLst>
          </p:cNvPr>
          <p:cNvSpPr txBox="1"/>
          <p:nvPr/>
        </p:nvSpPr>
        <p:spPr>
          <a:xfrm>
            <a:off x="8028810" y="3528851"/>
            <a:ext cx="1641592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onald </a:t>
            </a:r>
            <a:r>
              <a:rPr lang="en-US" sz="1067" dirty="0" err="1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cuyan</a:t>
            </a:r>
            <a:endParaRPr lang="en-US" sz="1067" dirty="0">
              <a:solidFill>
                <a:schemeClr val="accent6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A54A6F1-9C82-B85B-565B-9DB0661A080F}"/>
              </a:ext>
            </a:extLst>
          </p:cNvPr>
          <p:cNvSpPr txBox="1"/>
          <p:nvPr/>
        </p:nvSpPr>
        <p:spPr>
          <a:xfrm>
            <a:off x="8028810" y="3320616"/>
            <a:ext cx="1829607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ristian </a:t>
            </a:r>
            <a:r>
              <a:rPr lang="en-US" sz="1067" dirty="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ailat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F581FF-8C6C-A3D6-A219-AA59F3DAB6CB}"/>
              </a:ext>
            </a:extLst>
          </p:cNvPr>
          <p:cNvSpPr txBox="1"/>
          <p:nvPr/>
        </p:nvSpPr>
        <p:spPr>
          <a:xfrm>
            <a:off x="5936207" y="1937565"/>
            <a:ext cx="1864695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x Santos</a:t>
            </a:r>
            <a:endParaRPr lang="en-US" sz="1067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EA038E4-9E00-0B71-A0A6-6BAC940F02FA}"/>
              </a:ext>
            </a:extLst>
          </p:cNvPr>
          <p:cNvSpPr txBox="1"/>
          <p:nvPr/>
        </p:nvSpPr>
        <p:spPr>
          <a:xfrm>
            <a:off x="5896932" y="2145830"/>
            <a:ext cx="1864695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nton </a:t>
            </a:r>
            <a:r>
              <a:rPr lang="en-US" sz="1067" dirty="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squera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8AE7ACA-71A4-0DBC-8F22-F8065E4188E4}"/>
              </a:ext>
            </a:extLst>
          </p:cNvPr>
          <p:cNvSpPr txBox="1"/>
          <p:nvPr/>
        </p:nvSpPr>
        <p:spPr>
          <a:xfrm>
            <a:off x="8028810" y="3737086"/>
            <a:ext cx="1641592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an </a:t>
            </a:r>
            <a:r>
              <a:rPr lang="en-US" sz="1067" dirty="0" err="1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bellana</a:t>
            </a:r>
            <a:endParaRPr lang="en-US" sz="1067" dirty="0">
              <a:solidFill>
                <a:schemeClr val="accent6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00F28D6-584C-A5BF-48E4-7F54439F41B9}"/>
              </a:ext>
            </a:extLst>
          </p:cNvPr>
          <p:cNvSpPr txBox="1"/>
          <p:nvPr/>
        </p:nvSpPr>
        <p:spPr>
          <a:xfrm>
            <a:off x="8028810" y="3947840"/>
            <a:ext cx="2186146" cy="2569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70" b="0" i="0" u="none" strike="noStrike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del Mahmoud </a:t>
            </a:r>
            <a:r>
              <a:rPr lang="en-US" sz="1070" b="0" i="0" u="none" strike="noStrike" dirty="0" err="1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adek</a:t>
            </a:r>
            <a:r>
              <a:rPr lang="en-US" sz="1070" b="0" i="0" u="none" strike="noStrike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070" b="0" i="0" u="none" strike="noStrike" dirty="0" err="1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lbediwy</a:t>
            </a:r>
            <a:r>
              <a:rPr lang="en-US" sz="107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endParaRPr lang="en-US" sz="1070" dirty="0">
              <a:solidFill>
                <a:schemeClr val="accent6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60228B9-C55D-CCFA-ADE7-9A9BAF225CC3}"/>
              </a:ext>
            </a:extLst>
          </p:cNvPr>
          <p:cNvSpPr txBox="1"/>
          <p:nvPr/>
        </p:nvSpPr>
        <p:spPr>
          <a:xfrm>
            <a:off x="5740080" y="3778245"/>
            <a:ext cx="1762791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lson</a:t>
            </a:r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Wooden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46C779E-1FE6-7827-9658-B10F50F18401}"/>
              </a:ext>
            </a:extLst>
          </p:cNvPr>
          <p:cNvSpPr txBox="1"/>
          <p:nvPr/>
        </p:nvSpPr>
        <p:spPr>
          <a:xfrm>
            <a:off x="5769622" y="3354934"/>
            <a:ext cx="1864695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riel Dimapilis</a:t>
            </a:r>
            <a:endParaRPr lang="en-US" sz="1067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6F66E28-144F-8DA1-E479-002D18BA9D3A}"/>
              </a:ext>
            </a:extLst>
          </p:cNvPr>
          <p:cNvSpPr txBox="1"/>
          <p:nvPr/>
        </p:nvSpPr>
        <p:spPr>
          <a:xfrm>
            <a:off x="5762175" y="3566574"/>
            <a:ext cx="1864695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rwin </a:t>
            </a:r>
            <a:r>
              <a:rPr lang="en-US" sz="1067" dirty="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glang-awa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16EAA84-22A2-578E-CF64-B6DE96864465}"/>
              </a:ext>
            </a:extLst>
          </p:cNvPr>
          <p:cNvSpPr txBox="1"/>
          <p:nvPr/>
        </p:nvSpPr>
        <p:spPr>
          <a:xfrm>
            <a:off x="5740080" y="4016012"/>
            <a:ext cx="1762791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trick Bernardo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37973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F1BFAA-0A50-255A-1459-F4BD7E22B7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D8E10D-55A3-335D-7308-76AD06B4812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813801" y="6522256"/>
            <a:ext cx="2743200" cy="366183"/>
          </a:xfrm>
        </p:spPr>
        <p:txBody>
          <a:bodyPr/>
          <a:lstStyle/>
          <a:p>
            <a:pPr defTabSz="609585"/>
            <a:fld id="{9EDC855F-5393-4ECC-82A4-1DDB6B23846B}" type="slidenum">
              <a:rPr lang="en-US">
                <a:solidFill>
                  <a:srgbClr val="1E3860">
                    <a:tint val="75000"/>
                  </a:srgb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defTabSz="609585"/>
              <a:t>11</a:t>
            </a:fld>
            <a:endParaRPr lang="en-US" dirty="0">
              <a:solidFill>
                <a:srgbClr val="1E3860">
                  <a:tint val="75000"/>
                </a:srgb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46F794AD-0024-A96F-AE17-13786FD8DEBD}"/>
              </a:ext>
            </a:extLst>
          </p:cNvPr>
          <p:cNvSpPr/>
          <p:nvPr/>
        </p:nvSpPr>
        <p:spPr>
          <a:xfrm>
            <a:off x="2412626" y="6201775"/>
            <a:ext cx="5859721" cy="640963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>
              <a:lnSpc>
                <a:spcPct val="107000"/>
              </a:lnSpc>
              <a:spcAft>
                <a:spcPts val="1067"/>
              </a:spcAft>
            </a:pPr>
            <a:r>
              <a:rPr lang="en-US" sz="1867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formance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EB1B51ED-4020-9A95-6638-C964C266DF9F}"/>
              </a:ext>
            </a:extLst>
          </p:cNvPr>
          <p:cNvSpPr/>
          <p:nvPr/>
        </p:nvSpPr>
        <p:spPr>
          <a:xfrm rot="16200000">
            <a:off x="-1088170" y="3613013"/>
            <a:ext cx="4951919" cy="629440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>
              <a:lnSpc>
                <a:spcPct val="107000"/>
              </a:lnSpc>
              <a:spcAft>
                <a:spcPts val="1067"/>
              </a:spcAft>
            </a:pPr>
            <a:r>
              <a:rPr lang="en-US" sz="1867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mpac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E2BFB6A-410A-8F54-4AED-949178E94FB1}"/>
              </a:ext>
            </a:extLst>
          </p:cNvPr>
          <p:cNvSpPr/>
          <p:nvPr/>
        </p:nvSpPr>
        <p:spPr>
          <a:xfrm>
            <a:off x="6840861" y="1451767"/>
            <a:ext cx="2404129" cy="1521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. STRETCH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igh Loss Impact/High Performance</a:t>
            </a:r>
            <a:endParaRPr lang="en-US" sz="1333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CEA9243-45F6-8C39-A5A3-87B46DDD885A}"/>
              </a:ext>
            </a:extLst>
          </p:cNvPr>
          <p:cNvSpPr/>
          <p:nvPr/>
        </p:nvSpPr>
        <p:spPr>
          <a:xfrm>
            <a:off x="4388282" y="1447044"/>
            <a:ext cx="2404129" cy="1521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8. STRETCH/DEVELOP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igh Loss Impact/Moderate Performance</a:t>
            </a:r>
          </a:p>
          <a:p>
            <a:pPr algn="ctr" defTabSz="609585"/>
            <a:endParaRPr lang="en-US" sz="13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686FE10-FA32-6433-DE4C-331C4FBE93C6}"/>
              </a:ext>
            </a:extLst>
          </p:cNvPr>
          <p:cNvSpPr/>
          <p:nvPr/>
        </p:nvSpPr>
        <p:spPr>
          <a:xfrm>
            <a:off x="1935710" y="1451774"/>
            <a:ext cx="2404129" cy="1521637"/>
          </a:xfrm>
          <a:prstGeom prst="rect">
            <a:avLst/>
          </a:prstGeom>
          <a:solidFill>
            <a:srgbClr val="EC849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7. DEVELOP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igh Loss Impact/Low Performance</a:t>
            </a:r>
          </a:p>
          <a:p>
            <a:pPr algn="ctr" defTabSz="609585"/>
            <a:endParaRPr lang="en-US" sz="1333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 defTabSz="609585"/>
            <a:endParaRPr lang="en-US" sz="9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3D43BCB-2B12-C5F0-A746-948C01F66746}"/>
              </a:ext>
            </a:extLst>
          </p:cNvPr>
          <p:cNvSpPr/>
          <p:nvPr/>
        </p:nvSpPr>
        <p:spPr>
          <a:xfrm>
            <a:off x="6836138" y="3006478"/>
            <a:ext cx="2404129" cy="1521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6. STRETCH/DEVELOP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derate Loss impact/High Performanc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62F980E-45D7-381E-D06C-76D99EBBEF8A}"/>
              </a:ext>
            </a:extLst>
          </p:cNvPr>
          <p:cNvSpPr/>
          <p:nvPr/>
        </p:nvSpPr>
        <p:spPr>
          <a:xfrm>
            <a:off x="4383560" y="3011206"/>
            <a:ext cx="2404129" cy="1521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. DEVELOP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derate Loss Impact/Moderate Performance</a:t>
            </a:r>
          </a:p>
          <a:p>
            <a:pPr algn="ctr" defTabSz="609585"/>
            <a:endParaRPr lang="en-US" sz="13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 defTabSz="609585"/>
            <a:endParaRPr lang="en-US" sz="13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8417E33-EF38-3BB3-2259-9EC476B0679A}"/>
              </a:ext>
            </a:extLst>
          </p:cNvPr>
          <p:cNvSpPr/>
          <p:nvPr/>
        </p:nvSpPr>
        <p:spPr>
          <a:xfrm>
            <a:off x="1930988" y="3015935"/>
            <a:ext cx="2404129" cy="1521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. OBSERVE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derate Loss Impact/Low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Performa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C1857F1-44B1-9963-81CD-BCE19CFE59B3}"/>
              </a:ext>
            </a:extLst>
          </p:cNvPr>
          <p:cNvSpPr/>
          <p:nvPr/>
        </p:nvSpPr>
        <p:spPr>
          <a:xfrm>
            <a:off x="6840868" y="4570643"/>
            <a:ext cx="2404129" cy="1521637"/>
          </a:xfrm>
          <a:prstGeom prst="rect">
            <a:avLst/>
          </a:prstGeom>
          <a:solidFill>
            <a:srgbClr val="EC849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. DEVELOP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ow Loss Impact/High Performanc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0C2CEED-E7C7-F8DD-F83B-24CF3A63CF4B}"/>
              </a:ext>
            </a:extLst>
          </p:cNvPr>
          <p:cNvSpPr/>
          <p:nvPr/>
        </p:nvSpPr>
        <p:spPr>
          <a:xfrm>
            <a:off x="4388289" y="4575371"/>
            <a:ext cx="2404129" cy="1521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en-US" sz="933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. OBSERVE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ow Loss Impact/Moderate Performance</a:t>
            </a:r>
          </a:p>
          <a:p>
            <a:pPr algn="ctr" defTabSz="609585"/>
            <a:endParaRPr lang="en-US" sz="9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B2A6759-CFE7-8037-0FDE-BA86796AE9FB}"/>
              </a:ext>
            </a:extLst>
          </p:cNvPr>
          <p:cNvSpPr/>
          <p:nvPr/>
        </p:nvSpPr>
        <p:spPr>
          <a:xfrm>
            <a:off x="1935717" y="4580100"/>
            <a:ext cx="2404129" cy="1521637"/>
          </a:xfrm>
          <a:prstGeom prst="rect">
            <a:avLst/>
          </a:prstGeom>
          <a:solidFill>
            <a:srgbClr val="EC849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04792" indent="-304792" algn="ctr" defTabSz="609585">
              <a:buFontTx/>
              <a:buAutoNum type="arabicPeriod"/>
            </a:pPr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BSERVE/EXIT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ow Loss Impact/Low Performance</a:t>
            </a:r>
          </a:p>
          <a:p>
            <a:pPr marL="304792" indent="-304792" algn="ctr" defTabSz="609585">
              <a:buFontTx/>
              <a:buAutoNum type="arabicPeriod"/>
            </a:pPr>
            <a:endParaRPr lang="en-US" sz="1600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FE7826B-2694-56DC-C163-50B3B454390D}"/>
              </a:ext>
            </a:extLst>
          </p:cNvPr>
          <p:cNvSpPr txBox="1">
            <a:spLocks/>
          </p:cNvSpPr>
          <p:nvPr/>
        </p:nvSpPr>
        <p:spPr>
          <a:xfrm>
            <a:off x="492363" y="749059"/>
            <a:ext cx="11466163" cy="424948"/>
          </a:xfrm>
          <a:prstGeom prst="rect">
            <a:avLst/>
          </a:prstGeom>
        </p:spPr>
        <p:txBody>
          <a:bodyPr/>
          <a:lstStyle>
            <a:lvl1pPr marL="0" indent="0" algn="l" defTabSz="342900" rtl="0" eaLnBrk="1" latinLnBrk="0" hangingPunct="1">
              <a:spcBef>
                <a:spcPct val="20000"/>
              </a:spcBef>
              <a:buFontTx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Clr>
                <a:srgbClr val="1E3860"/>
              </a:buClr>
              <a:buFont typeface="Wingdings" panose="05000000000000000000" pitchFamily="2" charset="2"/>
              <a:buChar char="§"/>
              <a:defRPr sz="1100" kern="1200">
                <a:solidFill>
                  <a:srgbClr val="17294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sz="1050" kern="1200">
                <a:solidFill>
                  <a:srgbClr val="17294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rgbClr val="17294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Clr>
                <a:srgbClr val="FAA661"/>
              </a:buClr>
              <a:buFontTx/>
              <a:buBlip>
                <a:blip r:embed="rId2"/>
              </a:buBlip>
              <a:defRPr sz="1000" kern="1200">
                <a:solidFill>
                  <a:srgbClr val="17294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r>
              <a:rPr lang="en-US" sz="1600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formance by Loss Impact </a:t>
            </a:r>
            <a:r>
              <a:rPr lang="en-US" sz="16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</a:t>
            </a:r>
            <a:r>
              <a:rPr lang="en-US" sz="15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dentifies high retention risk combined with high loss impact roles; may be impactful in understanding roles to prioritize succession planning for.</a:t>
            </a:r>
          </a:p>
          <a:p>
            <a:pPr defTabSz="457189"/>
            <a:endParaRPr lang="en-US" sz="1600" dirty="0">
              <a:solidFill>
                <a:srgbClr val="FFFFFF">
                  <a:lumMod val="50000"/>
                </a:srgb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C91806-50D3-583B-5C87-43BC375BC882}"/>
              </a:ext>
            </a:extLst>
          </p:cNvPr>
          <p:cNvSpPr txBox="1"/>
          <p:nvPr/>
        </p:nvSpPr>
        <p:spPr>
          <a:xfrm>
            <a:off x="478789" y="200777"/>
            <a:ext cx="1060123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dirty="0">
                <a:solidFill>
                  <a:srgbClr val="FAA74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BC 9 Box Review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A91138D-C97B-F7F8-BE53-876F3E4F22FA}"/>
              </a:ext>
            </a:extLst>
          </p:cNvPr>
          <p:cNvGrpSpPr/>
          <p:nvPr/>
        </p:nvGrpSpPr>
        <p:grpSpPr>
          <a:xfrm>
            <a:off x="10121976" y="5734572"/>
            <a:ext cx="2870049" cy="715416"/>
            <a:chOff x="9558775" y="410380"/>
            <a:chExt cx="3926302" cy="923642"/>
          </a:xfrm>
        </p:grpSpPr>
        <p:pic>
          <p:nvPicPr>
            <p:cNvPr id="26" name="Picture 25" descr="A blue and yellow logo&#10;&#10;Description automatically generated">
              <a:extLst>
                <a:ext uri="{FF2B5EF4-FFF2-40B4-BE49-F238E27FC236}">
                  <a16:creationId xmlns:a16="http://schemas.microsoft.com/office/drawing/2014/main" id="{DB6CF553-7733-7671-06BB-6F3BBDD02D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58775" y="410380"/>
              <a:ext cx="2387681" cy="521330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235CFF5-C4AC-3A02-40CB-0518D4D4CF4E}"/>
                </a:ext>
              </a:extLst>
            </p:cNvPr>
            <p:cNvSpPr txBox="1"/>
            <p:nvPr/>
          </p:nvSpPr>
          <p:spPr>
            <a:xfrm>
              <a:off x="9933802" y="1087801"/>
              <a:ext cx="35512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kern="1500" spc="120" dirty="0">
                  <a:solidFill>
                    <a:srgbClr val="1E386A"/>
                  </a:solidFill>
                  <a:latin typeface="Libre Franklin" pitchFamily="2" charset="0"/>
                </a:rPr>
                <a:t>BUSINESS CENTER</a:t>
              </a: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09AA2B7B-969A-E2D2-0DD2-89701BAD4585}"/>
              </a:ext>
            </a:extLst>
          </p:cNvPr>
          <p:cNvSpPr txBox="1"/>
          <p:nvPr/>
        </p:nvSpPr>
        <p:spPr>
          <a:xfrm>
            <a:off x="7362071" y="3840269"/>
            <a:ext cx="1641592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onald </a:t>
            </a:r>
            <a:r>
              <a:rPr lang="en-US" sz="1067" dirty="0" err="1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cuyan</a:t>
            </a:r>
            <a:endParaRPr lang="en-US" sz="1067" dirty="0">
              <a:solidFill>
                <a:schemeClr val="accent6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6F63163-F068-F5EC-B17D-78830BC039AC}"/>
              </a:ext>
            </a:extLst>
          </p:cNvPr>
          <p:cNvSpPr txBox="1"/>
          <p:nvPr/>
        </p:nvSpPr>
        <p:spPr>
          <a:xfrm>
            <a:off x="7362071" y="3632034"/>
            <a:ext cx="1829607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ristian </a:t>
            </a:r>
            <a:r>
              <a:rPr lang="en-US" sz="1067" dirty="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ailat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06E4B69-B17A-5590-B655-4BA4FCF21137}"/>
              </a:ext>
            </a:extLst>
          </p:cNvPr>
          <p:cNvSpPr txBox="1"/>
          <p:nvPr/>
        </p:nvSpPr>
        <p:spPr>
          <a:xfrm>
            <a:off x="5134711" y="2114233"/>
            <a:ext cx="1864695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x Santos</a:t>
            </a:r>
            <a:endParaRPr lang="en-US" sz="1067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EEE8D6D-F991-DF9D-E9C1-701952FCA498}"/>
              </a:ext>
            </a:extLst>
          </p:cNvPr>
          <p:cNvSpPr txBox="1"/>
          <p:nvPr/>
        </p:nvSpPr>
        <p:spPr>
          <a:xfrm>
            <a:off x="5095436" y="2322498"/>
            <a:ext cx="1864695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nton </a:t>
            </a:r>
            <a:r>
              <a:rPr lang="en-US" sz="1067" dirty="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squera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F9CACDB-07FF-52EF-7CDC-FB40DD3A5A03}"/>
              </a:ext>
            </a:extLst>
          </p:cNvPr>
          <p:cNvSpPr txBox="1"/>
          <p:nvPr/>
        </p:nvSpPr>
        <p:spPr>
          <a:xfrm>
            <a:off x="7362071" y="4048504"/>
            <a:ext cx="1641592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an </a:t>
            </a:r>
            <a:r>
              <a:rPr lang="en-US" sz="1067" dirty="0" err="1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bellana</a:t>
            </a:r>
            <a:endParaRPr lang="en-US" sz="1067" dirty="0">
              <a:solidFill>
                <a:schemeClr val="accent6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A8DBE57-0BE3-EF52-DDAF-B1D079D2C7D2}"/>
              </a:ext>
            </a:extLst>
          </p:cNvPr>
          <p:cNvSpPr txBox="1"/>
          <p:nvPr/>
        </p:nvSpPr>
        <p:spPr>
          <a:xfrm>
            <a:off x="7362071" y="4259258"/>
            <a:ext cx="2186146" cy="2569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70" b="0" i="0" u="none" strike="noStrike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del Mahmoud </a:t>
            </a:r>
            <a:r>
              <a:rPr lang="en-US" sz="1070" b="0" i="0" u="none" strike="noStrike" dirty="0" err="1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adek</a:t>
            </a:r>
            <a:r>
              <a:rPr lang="en-US" sz="1070" b="0" i="0" u="none" strike="noStrike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070" b="0" i="0" u="none" strike="noStrike" dirty="0" err="1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lbediwy</a:t>
            </a:r>
            <a:r>
              <a:rPr lang="en-US" sz="107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endParaRPr lang="en-US" sz="1070" dirty="0">
              <a:solidFill>
                <a:schemeClr val="accent6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AC6F9FC-76A2-A4EE-B5CE-A88B2F022A9E}"/>
              </a:ext>
            </a:extLst>
          </p:cNvPr>
          <p:cNvSpPr txBox="1"/>
          <p:nvPr/>
        </p:nvSpPr>
        <p:spPr>
          <a:xfrm>
            <a:off x="5073341" y="4089663"/>
            <a:ext cx="1762791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lson</a:t>
            </a:r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Wooden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CF99807-A0C5-AC14-CCEE-A660FE97E33E}"/>
              </a:ext>
            </a:extLst>
          </p:cNvPr>
          <p:cNvSpPr txBox="1"/>
          <p:nvPr/>
        </p:nvSpPr>
        <p:spPr>
          <a:xfrm>
            <a:off x="5102883" y="3666352"/>
            <a:ext cx="1864695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riel Dimapilis</a:t>
            </a:r>
            <a:endParaRPr lang="en-US" sz="1067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688F616-6D87-CAF7-FDC7-D95235C80B33}"/>
              </a:ext>
            </a:extLst>
          </p:cNvPr>
          <p:cNvSpPr txBox="1"/>
          <p:nvPr/>
        </p:nvSpPr>
        <p:spPr>
          <a:xfrm>
            <a:off x="5095436" y="3877992"/>
            <a:ext cx="1864695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rwin </a:t>
            </a:r>
            <a:r>
              <a:rPr lang="en-US" sz="1067" dirty="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glang-awa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649F457-DD6F-98CD-98B4-3FE2C98B7174}"/>
              </a:ext>
            </a:extLst>
          </p:cNvPr>
          <p:cNvSpPr txBox="1"/>
          <p:nvPr/>
        </p:nvSpPr>
        <p:spPr>
          <a:xfrm>
            <a:off x="5073341" y="4327430"/>
            <a:ext cx="1762791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trick Bernardo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84418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A00D6E-7376-B1E2-7467-83621B7AF7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B501-8F79-848C-DA5E-EDC0047D1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165" y="334109"/>
            <a:ext cx="9860681" cy="712741"/>
          </a:xfrm>
        </p:spPr>
        <p:txBody>
          <a:bodyPr/>
          <a:lstStyle/>
          <a:p>
            <a:r>
              <a:rPr lang="en-US" sz="3000" dirty="0">
                <a:solidFill>
                  <a:srgbClr val="FAA74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tential Scorecard Assessment &amp; Calibr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B816AB-BC0D-9368-4369-188B6C71B6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789" y="1270717"/>
            <a:ext cx="10976611" cy="4855447"/>
          </a:xfrm>
        </p:spPr>
        <p:txBody>
          <a:bodyPr/>
          <a:lstStyle/>
          <a:p>
            <a:pPr marL="0" indent="0">
              <a:buNone/>
            </a:pPr>
            <a:r>
              <a:rPr lang="en-US" u="sng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finitions</a:t>
            </a:r>
          </a:p>
          <a:p>
            <a:pPr marL="0" indent="0">
              <a:buNone/>
            </a:pPr>
            <a:endParaRPr lang="en-US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indent="0">
              <a:buNone/>
            </a:pPr>
            <a:r>
              <a:rPr lang="en-US" sz="12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ention Risk </a:t>
            </a: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– The likelihood that the employee will leave the organization within the next 12-18 months. Questions to help you determine retention risk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s the individual’s compensation equitable with their internal peers and/or the external market?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es the individual see a mismatch between their current role and their skills, interests, and capabilities?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as the individual expressed interest in other positions within or outside of the company?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as the individual expressed concerns over development or advancement opportunities?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es the individual possess skills/abilities that are in high demand in the marketplace?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ow often has the individual expressed concerns over job satisfaction or engagement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known personal risk factors (i.e., health concerns, travel requirements) might impact this individual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es the individual have a positive relationship with their direct supervisor and team?</a:t>
            </a:r>
          </a:p>
          <a:p>
            <a:pPr marL="0" indent="0">
              <a:buNone/>
            </a:pPr>
            <a:endParaRPr lang="en-US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indent="0">
              <a:buNone/>
            </a:pPr>
            <a:r>
              <a:rPr lang="en-US" sz="12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oss Impact </a:t>
            </a: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– The direct impact if the employee were to leave the business. Questions to help you determine loss impact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is the availability of potential internal successors for the position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ow difficult would it be to find a replacement in the external market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s the incumbent a critical link in achieving results through relationships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es the incumbent possess critical job knowledge/information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ould business transactions or processes experience significant delays or drop in quality?</a:t>
            </a:r>
          </a:p>
          <a:p>
            <a:pPr marL="0" indent="0">
              <a:buNone/>
            </a:pPr>
            <a:endParaRPr lang="en-US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indent="0">
              <a:buNone/>
            </a:pPr>
            <a:r>
              <a:rPr lang="en-US" sz="12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chievable Level </a:t>
            </a: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The employee's long-term (2 years or more) ability to advance in job classifications related to their current position or qualifications.</a:t>
            </a:r>
          </a:p>
          <a:p>
            <a:endParaRPr lang="en-US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D50A15-AFA5-EAE8-72B9-8E59750873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800" y="845768"/>
            <a:ext cx="11256011" cy="424948"/>
          </a:xfrm>
        </p:spPr>
        <p:txBody>
          <a:bodyPr/>
          <a:lstStyle/>
          <a:p>
            <a:r>
              <a:rPr lang="en-US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finition Re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83D556-3BA4-C05D-E778-D22CD57B7BF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609585"/>
            <a:fld id="{9EDC855F-5393-4ECC-82A4-1DDB6B23846B}" type="slidenum">
              <a:rPr lang="en-US">
                <a:solidFill>
                  <a:srgbClr val="1E3860">
                    <a:tint val="75000"/>
                  </a:srgbClr>
                </a:solidFill>
              </a:rPr>
              <a:pPr defTabSz="609585"/>
              <a:t>12</a:t>
            </a:fld>
            <a:endParaRPr lang="en-US" dirty="0">
              <a:solidFill>
                <a:srgbClr val="1E3860">
                  <a:tint val="75000"/>
                </a:srgbClr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7500494-3F3D-408C-A882-61693C8A9D6C}"/>
              </a:ext>
            </a:extLst>
          </p:cNvPr>
          <p:cNvGrpSpPr/>
          <p:nvPr/>
        </p:nvGrpSpPr>
        <p:grpSpPr>
          <a:xfrm>
            <a:off x="9918776" y="360539"/>
            <a:ext cx="2870049" cy="715416"/>
            <a:chOff x="9558775" y="410380"/>
            <a:chExt cx="3926302" cy="923642"/>
          </a:xfrm>
        </p:grpSpPr>
        <p:pic>
          <p:nvPicPr>
            <p:cNvPr id="7" name="Picture 6" descr="A blue and yellow logo&#10;&#10;Description automatically generated">
              <a:extLst>
                <a:ext uri="{FF2B5EF4-FFF2-40B4-BE49-F238E27FC236}">
                  <a16:creationId xmlns:a16="http://schemas.microsoft.com/office/drawing/2014/main" id="{9CC36ECA-F289-C485-281F-21DBB60FA9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58775" y="410380"/>
              <a:ext cx="2387681" cy="52133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7EEAD8E-E0F3-7497-CDCA-0DBFDFBB08BA}"/>
                </a:ext>
              </a:extLst>
            </p:cNvPr>
            <p:cNvSpPr txBox="1"/>
            <p:nvPr/>
          </p:nvSpPr>
          <p:spPr>
            <a:xfrm>
              <a:off x="9933802" y="1087801"/>
              <a:ext cx="35512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kern="1500" spc="120" dirty="0">
                  <a:solidFill>
                    <a:srgbClr val="1E386A"/>
                  </a:solidFill>
                  <a:latin typeface="Libre Franklin" pitchFamily="2" charset="0"/>
                </a:rPr>
                <a:t>BUSINESS CENTER</a:t>
              </a: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68293B91-6290-B705-BBA4-2BE96A87E914}"/>
              </a:ext>
            </a:extLst>
          </p:cNvPr>
          <p:cNvSpPr/>
          <p:nvPr/>
        </p:nvSpPr>
        <p:spPr>
          <a:xfrm>
            <a:off x="4052316" y="6735661"/>
            <a:ext cx="4114800" cy="136525"/>
          </a:xfrm>
          <a:prstGeom prst="rect">
            <a:avLst/>
          </a:prstGeom>
          <a:solidFill>
            <a:srgbClr val="FAA7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3BD3F1C-56A8-870B-F705-6BBAECAD7141}"/>
              </a:ext>
            </a:extLst>
          </p:cNvPr>
          <p:cNvSpPr/>
          <p:nvPr/>
        </p:nvSpPr>
        <p:spPr>
          <a:xfrm>
            <a:off x="8141208" y="6735661"/>
            <a:ext cx="4050792" cy="136525"/>
          </a:xfrm>
          <a:prstGeom prst="rect">
            <a:avLst/>
          </a:prstGeom>
          <a:solidFill>
            <a:srgbClr val="DAE8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56C4374-C9CE-A37A-66D6-FB77B143B2E2}"/>
              </a:ext>
            </a:extLst>
          </p:cNvPr>
          <p:cNvSpPr/>
          <p:nvPr/>
        </p:nvSpPr>
        <p:spPr>
          <a:xfrm>
            <a:off x="0" y="6735661"/>
            <a:ext cx="4114800" cy="136525"/>
          </a:xfrm>
          <a:prstGeom prst="rect">
            <a:avLst/>
          </a:prstGeom>
          <a:solidFill>
            <a:srgbClr val="1E38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204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A5F2E1F4-E30E-B09E-762B-DA4240B5E0E1}"/>
              </a:ext>
            </a:extLst>
          </p:cNvPr>
          <p:cNvGrpSpPr/>
          <p:nvPr/>
        </p:nvGrpSpPr>
        <p:grpSpPr>
          <a:xfrm>
            <a:off x="9767232" y="5779125"/>
            <a:ext cx="2870049" cy="715416"/>
            <a:chOff x="9558775" y="410380"/>
            <a:chExt cx="3926302" cy="923642"/>
          </a:xfrm>
        </p:grpSpPr>
        <p:pic>
          <p:nvPicPr>
            <p:cNvPr id="7" name="Picture 6" descr="A blue and yellow logo&#10;&#10;Description automatically generated">
              <a:extLst>
                <a:ext uri="{FF2B5EF4-FFF2-40B4-BE49-F238E27FC236}">
                  <a16:creationId xmlns:a16="http://schemas.microsoft.com/office/drawing/2014/main" id="{1B3F976B-A45F-590A-6B29-74CAB8DA071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58775" y="410380"/>
              <a:ext cx="2387681" cy="52133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46C0E8D-78DA-EDC6-852D-2C0E3B18CBE6}"/>
                </a:ext>
              </a:extLst>
            </p:cNvPr>
            <p:cNvSpPr txBox="1"/>
            <p:nvPr/>
          </p:nvSpPr>
          <p:spPr>
            <a:xfrm>
              <a:off x="9933802" y="1087801"/>
              <a:ext cx="35512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kern="1500" spc="120" dirty="0">
                  <a:solidFill>
                    <a:srgbClr val="1E386A"/>
                  </a:solidFill>
                  <a:latin typeface="Libre Franklin" pitchFamily="2" charset="0"/>
                </a:rPr>
                <a:t>BUSINESS CENTER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876FB2BD-011C-DA10-7D02-9842C1FB65CE}"/>
              </a:ext>
            </a:extLst>
          </p:cNvPr>
          <p:cNvSpPr/>
          <p:nvPr/>
        </p:nvSpPr>
        <p:spPr>
          <a:xfrm>
            <a:off x="4052316" y="6735661"/>
            <a:ext cx="4114800" cy="136525"/>
          </a:xfrm>
          <a:prstGeom prst="rect">
            <a:avLst/>
          </a:prstGeom>
          <a:solidFill>
            <a:srgbClr val="FAA7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D74649-5D80-3341-647E-8E7C971A5B30}"/>
              </a:ext>
            </a:extLst>
          </p:cNvPr>
          <p:cNvSpPr/>
          <p:nvPr/>
        </p:nvSpPr>
        <p:spPr>
          <a:xfrm>
            <a:off x="8141208" y="6735661"/>
            <a:ext cx="4050792" cy="136525"/>
          </a:xfrm>
          <a:prstGeom prst="rect">
            <a:avLst/>
          </a:prstGeom>
          <a:solidFill>
            <a:srgbClr val="DAE8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E9D1C23-028B-3040-016D-C3D918E0D497}"/>
              </a:ext>
            </a:extLst>
          </p:cNvPr>
          <p:cNvSpPr/>
          <p:nvPr/>
        </p:nvSpPr>
        <p:spPr>
          <a:xfrm>
            <a:off x="0" y="6735661"/>
            <a:ext cx="4114800" cy="136525"/>
          </a:xfrm>
          <a:prstGeom prst="rect">
            <a:avLst/>
          </a:prstGeom>
          <a:solidFill>
            <a:srgbClr val="1E38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AEF5570E-CE47-EA69-D201-A59A8AA7EE9A}"/>
              </a:ext>
            </a:extLst>
          </p:cNvPr>
          <p:cNvSpPr txBox="1"/>
          <p:nvPr/>
        </p:nvSpPr>
        <p:spPr>
          <a:xfrm>
            <a:off x="711250" y="306705"/>
            <a:ext cx="106012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FAA74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eam Tenure and 9 Box Tag Summa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90B7153-9465-872A-067D-8E14C55BFE37}"/>
              </a:ext>
            </a:extLst>
          </p:cNvPr>
          <p:cNvSpPr txBox="1"/>
          <p:nvPr/>
        </p:nvSpPr>
        <p:spPr>
          <a:xfrm>
            <a:off x="976454" y="4090860"/>
            <a:ext cx="10473305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1 members with a majority in the less than 1 year bucket. Only 3 employees are past 1.5 years in tenure.</a:t>
            </a: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endParaRPr lang="en-US" sz="120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rgbClr val="FAA74A"/>
              </a:buClr>
            </a:pPr>
            <a:endParaRPr lang="en-US" sz="12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st of the team members are placed at a mid and high box </a:t>
            </a:r>
          </a:p>
          <a:p>
            <a:pPr>
              <a:buClr>
                <a:srgbClr val="FAA74A"/>
              </a:buClr>
            </a:pPr>
            <a:endParaRPr lang="en-US" sz="12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rgbClr val="FAA74A"/>
              </a:buClr>
            </a:pPr>
            <a:endParaRPr lang="en-US" sz="12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pervisors – tagged at Mid Tier (5) and High (8)</a:t>
            </a:r>
          </a:p>
          <a:p>
            <a:pPr>
              <a:buClr>
                <a:srgbClr val="FAA74A"/>
              </a:buClr>
            </a:pPr>
            <a:endParaRPr lang="en-US" sz="12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rgbClr val="FAA74A"/>
              </a:buClr>
            </a:pPr>
            <a:endParaRPr lang="en-US" sz="12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1">
              <a:buClr>
                <a:srgbClr val="FAA74A"/>
              </a:buClr>
            </a:pPr>
            <a:endParaRPr lang="en-US" sz="12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F1A6E65-A90C-DEC6-88B2-608CC94E95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8147" y="1567326"/>
            <a:ext cx="10789920" cy="2185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0527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A5F2E1F4-E30E-B09E-762B-DA4240B5E0E1}"/>
              </a:ext>
            </a:extLst>
          </p:cNvPr>
          <p:cNvGrpSpPr/>
          <p:nvPr/>
        </p:nvGrpSpPr>
        <p:grpSpPr>
          <a:xfrm>
            <a:off x="9767232" y="5779125"/>
            <a:ext cx="2870049" cy="715416"/>
            <a:chOff x="9558775" y="410380"/>
            <a:chExt cx="3926302" cy="923642"/>
          </a:xfrm>
        </p:grpSpPr>
        <p:pic>
          <p:nvPicPr>
            <p:cNvPr id="7" name="Picture 6" descr="A blue and yellow logo&#10;&#10;Description automatically generated">
              <a:extLst>
                <a:ext uri="{FF2B5EF4-FFF2-40B4-BE49-F238E27FC236}">
                  <a16:creationId xmlns:a16="http://schemas.microsoft.com/office/drawing/2014/main" id="{1B3F976B-A45F-590A-6B29-74CAB8DA071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58775" y="410380"/>
              <a:ext cx="2387681" cy="52133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46C0E8D-78DA-EDC6-852D-2C0E3B18CBE6}"/>
                </a:ext>
              </a:extLst>
            </p:cNvPr>
            <p:cNvSpPr txBox="1"/>
            <p:nvPr/>
          </p:nvSpPr>
          <p:spPr>
            <a:xfrm>
              <a:off x="9933802" y="1087801"/>
              <a:ext cx="35512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kern="1500" spc="120" dirty="0">
                  <a:solidFill>
                    <a:srgbClr val="1E386A"/>
                  </a:solidFill>
                  <a:latin typeface="Libre Franklin" pitchFamily="2" charset="0"/>
                </a:rPr>
                <a:t>BUSINESS CENTER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876FB2BD-011C-DA10-7D02-9842C1FB65CE}"/>
              </a:ext>
            </a:extLst>
          </p:cNvPr>
          <p:cNvSpPr/>
          <p:nvPr/>
        </p:nvSpPr>
        <p:spPr>
          <a:xfrm>
            <a:off x="4052316" y="6735661"/>
            <a:ext cx="4114800" cy="136525"/>
          </a:xfrm>
          <a:prstGeom prst="rect">
            <a:avLst/>
          </a:prstGeom>
          <a:solidFill>
            <a:srgbClr val="FAA7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D74649-5D80-3341-647E-8E7C971A5B30}"/>
              </a:ext>
            </a:extLst>
          </p:cNvPr>
          <p:cNvSpPr/>
          <p:nvPr/>
        </p:nvSpPr>
        <p:spPr>
          <a:xfrm>
            <a:off x="8141208" y="6735661"/>
            <a:ext cx="4050792" cy="136525"/>
          </a:xfrm>
          <a:prstGeom prst="rect">
            <a:avLst/>
          </a:prstGeom>
          <a:solidFill>
            <a:srgbClr val="DAE8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E9D1C23-028B-3040-016D-C3D918E0D497}"/>
              </a:ext>
            </a:extLst>
          </p:cNvPr>
          <p:cNvSpPr/>
          <p:nvPr/>
        </p:nvSpPr>
        <p:spPr>
          <a:xfrm>
            <a:off x="0" y="6735661"/>
            <a:ext cx="4114800" cy="136525"/>
          </a:xfrm>
          <a:prstGeom prst="rect">
            <a:avLst/>
          </a:prstGeom>
          <a:solidFill>
            <a:srgbClr val="1E38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AEF5570E-CE47-EA69-D201-A59A8AA7EE9A}"/>
              </a:ext>
            </a:extLst>
          </p:cNvPr>
          <p:cNvSpPr txBox="1"/>
          <p:nvPr/>
        </p:nvSpPr>
        <p:spPr>
          <a:xfrm>
            <a:off x="711250" y="306705"/>
            <a:ext cx="106012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FAA74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XOS METHODOLOG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0CF089F-D1A1-1EB2-6C3F-EF8EA4A86A85}"/>
              </a:ext>
            </a:extLst>
          </p:cNvPr>
          <p:cNvSpPr txBox="1"/>
          <p:nvPr/>
        </p:nvSpPr>
        <p:spPr>
          <a:xfrm>
            <a:off x="4427951" y="4902593"/>
            <a:ext cx="562237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formance – determined by performance ratings and to be provided by HR. Conversion of the 5-point scale to 3 point scale is as follows: </a:t>
            </a: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257300" lvl="4" indent="-342900">
              <a:buClr>
                <a:srgbClr val="FAA74A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0-2.89 =  1</a:t>
            </a:r>
          </a:p>
          <a:p>
            <a:pPr marL="1257300" lvl="4" indent="-342900">
              <a:buClr>
                <a:srgbClr val="FAA74A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.9-3.5 = 2</a:t>
            </a:r>
          </a:p>
          <a:p>
            <a:pPr marL="1257300" lvl="4" indent="-342900">
              <a:buClr>
                <a:srgbClr val="FAA74A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.51-5 = 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DB93E84-B3FA-C6D4-056D-71495E3621E8}"/>
              </a:ext>
            </a:extLst>
          </p:cNvPr>
          <p:cNvSpPr/>
          <p:nvPr/>
        </p:nvSpPr>
        <p:spPr>
          <a:xfrm>
            <a:off x="3042259" y="5201739"/>
            <a:ext cx="798115" cy="750182"/>
          </a:xfrm>
          <a:prstGeom prst="rect">
            <a:avLst/>
          </a:prstGeom>
          <a:solidFill>
            <a:srgbClr val="FEF0D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accent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56C9EF-1365-6E8D-A1B0-850BC8006A3D}"/>
              </a:ext>
            </a:extLst>
          </p:cNvPr>
          <p:cNvSpPr/>
          <p:nvPr/>
        </p:nvSpPr>
        <p:spPr>
          <a:xfrm>
            <a:off x="1440115" y="5218952"/>
            <a:ext cx="1602145" cy="737712"/>
          </a:xfrm>
          <a:prstGeom prst="rect">
            <a:avLst/>
          </a:prstGeom>
          <a:solidFill>
            <a:srgbClr val="FFC1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accent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505F4818-2710-7FE1-C6A5-1D052D7570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743416"/>
              </p:ext>
            </p:extLst>
          </p:nvPr>
        </p:nvGraphicFramePr>
        <p:xfrm>
          <a:off x="1432689" y="3734517"/>
          <a:ext cx="2415045" cy="2220975"/>
        </p:xfrm>
        <a:graphic>
          <a:graphicData uri="http://schemas.openxmlformats.org/drawingml/2006/table">
            <a:tbl>
              <a:tblPr firstRow="1" firstCol="1" bandRow="1"/>
              <a:tblGrid>
                <a:gridCol w="805015">
                  <a:extLst>
                    <a:ext uri="{9D8B030D-6E8A-4147-A177-3AD203B41FA5}">
                      <a16:colId xmlns:a16="http://schemas.microsoft.com/office/drawing/2014/main" val="142049189"/>
                    </a:ext>
                  </a:extLst>
                </a:gridCol>
                <a:gridCol w="805015">
                  <a:extLst>
                    <a:ext uri="{9D8B030D-6E8A-4147-A177-3AD203B41FA5}">
                      <a16:colId xmlns:a16="http://schemas.microsoft.com/office/drawing/2014/main" val="2067366954"/>
                    </a:ext>
                  </a:extLst>
                </a:gridCol>
                <a:gridCol w="805015">
                  <a:extLst>
                    <a:ext uri="{9D8B030D-6E8A-4147-A177-3AD203B41FA5}">
                      <a16:colId xmlns:a16="http://schemas.microsoft.com/office/drawing/2014/main" val="3090948661"/>
                    </a:ext>
                  </a:extLst>
                </a:gridCol>
              </a:tblGrid>
              <a:tr h="735763">
                <a:tc>
                  <a:txBody>
                    <a:bodyPr/>
                    <a:lstStyle/>
                    <a:p>
                      <a:pPr marL="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1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7</a:t>
                      </a:r>
                      <a:endParaRPr lang="en-US" sz="11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1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747" marR="67747" marT="9409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67747" marR="67747" marT="9409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1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  9</a:t>
                      </a:r>
                      <a:endParaRPr lang="en-US" sz="11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747" marR="67747" marT="9409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8836937"/>
                  </a:ext>
                </a:extLst>
              </a:tr>
              <a:tr h="742606">
                <a:tc>
                  <a:txBody>
                    <a:bodyPr/>
                    <a:lstStyle/>
                    <a:p>
                      <a:pPr marL="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67747" marR="67747" marT="9409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67747" marR="67747" marT="9409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67747" marR="67747" marT="9409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3925736"/>
                  </a:ext>
                </a:extLst>
              </a:tr>
              <a:tr h="742606">
                <a:tc>
                  <a:txBody>
                    <a:bodyPr/>
                    <a:lstStyle/>
                    <a:p>
                      <a:pPr marL="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67747" marR="67747" marT="9409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67747" marR="67747" marT="9409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67747" marR="67747" marT="9409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4679652"/>
                  </a:ext>
                </a:extLst>
              </a:tr>
            </a:tbl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97859A2B-C7E2-D7F7-5A80-3E0FA1A8FDFF}"/>
              </a:ext>
            </a:extLst>
          </p:cNvPr>
          <p:cNvGrpSpPr/>
          <p:nvPr/>
        </p:nvGrpSpPr>
        <p:grpSpPr>
          <a:xfrm>
            <a:off x="1412496" y="5967875"/>
            <a:ext cx="2609710" cy="728580"/>
            <a:chOff x="1681963" y="4308336"/>
            <a:chExt cx="3931920" cy="810170"/>
          </a:xfrm>
        </p:grpSpPr>
        <p:sp>
          <p:nvSpPr>
            <p:cNvPr id="13" name="Arrow: Right 12">
              <a:extLst>
                <a:ext uri="{FF2B5EF4-FFF2-40B4-BE49-F238E27FC236}">
                  <a16:creationId xmlns:a16="http://schemas.microsoft.com/office/drawing/2014/main" id="{C072567B-95EE-36C0-2E24-6E79DA2C01C8}"/>
                </a:ext>
              </a:extLst>
            </p:cNvPr>
            <p:cNvSpPr/>
            <p:nvPr/>
          </p:nvSpPr>
          <p:spPr>
            <a:xfrm>
              <a:off x="1681963" y="4583950"/>
              <a:ext cx="3931920" cy="534556"/>
            </a:xfrm>
            <a:prstGeom prst="rightArrow">
              <a:avLst/>
            </a:prstGeom>
            <a:solidFill>
              <a:srgbClr val="1E38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</a:pPr>
              <a:r>
                <a:rPr lang="en-US" sz="1400" dirty="0">
                  <a:effectLst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PERFORMANCE</a:t>
              </a:r>
            </a:p>
          </p:txBody>
        </p:sp>
        <p:sp>
          <p:nvSpPr>
            <p:cNvPr id="14" name="Text Box 2">
              <a:extLst>
                <a:ext uri="{FF2B5EF4-FFF2-40B4-BE49-F238E27FC236}">
                  <a16:creationId xmlns:a16="http://schemas.microsoft.com/office/drawing/2014/main" id="{10FD25EC-9F68-30AB-53F7-73E5D45DB84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28397" y="4308336"/>
              <a:ext cx="793247" cy="275614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marL="0" marR="0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</a:pPr>
              <a:r>
                <a:rPr lang="en-US" sz="1100" dirty="0">
                  <a:effectLst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LOW</a:t>
              </a:r>
            </a:p>
          </p:txBody>
        </p:sp>
        <p:sp>
          <p:nvSpPr>
            <p:cNvPr id="15" name="Text Box 2">
              <a:extLst>
                <a:ext uri="{FF2B5EF4-FFF2-40B4-BE49-F238E27FC236}">
                  <a16:creationId xmlns:a16="http://schemas.microsoft.com/office/drawing/2014/main" id="{4FE8E288-7A69-A100-9154-18C5C59EF1C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28995" y="4315010"/>
              <a:ext cx="1666875" cy="28392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marL="0" marR="0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</a:pPr>
              <a:r>
                <a:rPr lang="en-US" sz="1100" dirty="0">
                  <a:effectLst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MODERATE</a:t>
              </a:r>
            </a:p>
          </p:txBody>
        </p:sp>
        <p:sp>
          <p:nvSpPr>
            <p:cNvPr id="16" name="Text Box 2">
              <a:extLst>
                <a:ext uri="{FF2B5EF4-FFF2-40B4-BE49-F238E27FC236}">
                  <a16:creationId xmlns:a16="http://schemas.microsoft.com/office/drawing/2014/main" id="{06EFE6D8-BB2D-64BE-A95A-3B46782D925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58324" y="4310209"/>
              <a:ext cx="990635" cy="23014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marL="0" marR="0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</a:pPr>
              <a:r>
                <a:rPr lang="en-US" sz="1100" dirty="0">
                  <a:effectLst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HIGH</a:t>
              </a: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DD5CB073-6CA2-485B-E406-740AB8C7D539}"/>
              </a:ext>
            </a:extLst>
          </p:cNvPr>
          <p:cNvSpPr txBox="1"/>
          <p:nvPr/>
        </p:nvSpPr>
        <p:spPr>
          <a:xfrm>
            <a:off x="1554267" y="5443041"/>
            <a:ext cx="61664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0-2.89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82E03C7-E984-7ACE-5145-77D3873E1663}"/>
              </a:ext>
            </a:extLst>
          </p:cNvPr>
          <p:cNvSpPr txBox="1"/>
          <p:nvPr/>
        </p:nvSpPr>
        <p:spPr>
          <a:xfrm>
            <a:off x="2331889" y="5443041"/>
            <a:ext cx="7709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.9-3.5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A8C0404-5BE7-5F8C-2978-D2E88BD0DCC5}"/>
              </a:ext>
            </a:extLst>
          </p:cNvPr>
          <p:cNvSpPr txBox="1"/>
          <p:nvPr/>
        </p:nvSpPr>
        <p:spPr>
          <a:xfrm>
            <a:off x="3114385" y="5443041"/>
            <a:ext cx="86472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.51-5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7A080DB-891A-0ED1-1D14-203FD4CA113D}"/>
              </a:ext>
            </a:extLst>
          </p:cNvPr>
          <p:cNvSpPr/>
          <p:nvPr/>
        </p:nvSpPr>
        <p:spPr>
          <a:xfrm>
            <a:off x="1408312" y="1279828"/>
            <a:ext cx="811284" cy="733168"/>
          </a:xfrm>
          <a:prstGeom prst="rect">
            <a:avLst/>
          </a:prstGeom>
          <a:solidFill>
            <a:srgbClr val="FEF0D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accent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11720D7-B27F-2275-8DB1-73F680873A36}"/>
              </a:ext>
            </a:extLst>
          </p:cNvPr>
          <p:cNvSpPr/>
          <p:nvPr/>
        </p:nvSpPr>
        <p:spPr>
          <a:xfrm>
            <a:off x="1408312" y="2012996"/>
            <a:ext cx="811284" cy="1487806"/>
          </a:xfrm>
          <a:prstGeom prst="rect">
            <a:avLst/>
          </a:prstGeom>
          <a:solidFill>
            <a:srgbClr val="FFC1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accent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0DC6A6BE-2F54-CB00-7F5A-021C89EDF1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6106553"/>
              </p:ext>
            </p:extLst>
          </p:nvPr>
        </p:nvGraphicFramePr>
        <p:xfrm>
          <a:off x="1408312" y="1283970"/>
          <a:ext cx="2415046" cy="2220975"/>
        </p:xfrm>
        <a:graphic>
          <a:graphicData uri="http://schemas.openxmlformats.org/drawingml/2006/table">
            <a:tbl>
              <a:tblPr firstRow="1" firstCol="1" bandRow="1"/>
              <a:tblGrid>
                <a:gridCol w="801977">
                  <a:extLst>
                    <a:ext uri="{9D8B030D-6E8A-4147-A177-3AD203B41FA5}">
                      <a16:colId xmlns:a16="http://schemas.microsoft.com/office/drawing/2014/main" val="142049189"/>
                    </a:ext>
                  </a:extLst>
                </a:gridCol>
                <a:gridCol w="789336">
                  <a:extLst>
                    <a:ext uri="{9D8B030D-6E8A-4147-A177-3AD203B41FA5}">
                      <a16:colId xmlns:a16="http://schemas.microsoft.com/office/drawing/2014/main" val="2067366954"/>
                    </a:ext>
                  </a:extLst>
                </a:gridCol>
                <a:gridCol w="823733">
                  <a:extLst>
                    <a:ext uri="{9D8B030D-6E8A-4147-A177-3AD203B41FA5}">
                      <a16:colId xmlns:a16="http://schemas.microsoft.com/office/drawing/2014/main" val="3090948661"/>
                    </a:ext>
                  </a:extLst>
                </a:gridCol>
              </a:tblGrid>
              <a:tr h="735763">
                <a:tc>
                  <a:txBody>
                    <a:bodyPr/>
                    <a:lstStyle/>
                    <a:p>
                      <a:pPr marL="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1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7</a:t>
                      </a:r>
                      <a:endParaRPr lang="en-US" sz="11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1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747" marR="67747" marT="9409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67747" marR="67747" marT="9409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1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  9</a:t>
                      </a:r>
                      <a:endParaRPr lang="en-US" sz="11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747" marR="67747" marT="9409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8836937"/>
                  </a:ext>
                </a:extLst>
              </a:tr>
              <a:tr h="742606">
                <a:tc>
                  <a:txBody>
                    <a:bodyPr/>
                    <a:lstStyle/>
                    <a:p>
                      <a:pPr marL="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67747" marR="67747" marT="9409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67747" marR="67747" marT="9409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67747" marR="67747" marT="9409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3925736"/>
                  </a:ext>
                </a:extLst>
              </a:tr>
              <a:tr h="742606">
                <a:tc>
                  <a:txBody>
                    <a:bodyPr/>
                    <a:lstStyle/>
                    <a:p>
                      <a:pPr marL="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67747" marR="67747" marT="9409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67747" marR="67747" marT="9409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67747" marR="67747" marT="9409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4679652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440AF943-1E90-4FD0-5216-E933EFC92832}"/>
              </a:ext>
            </a:extLst>
          </p:cNvPr>
          <p:cNvSpPr txBox="1"/>
          <p:nvPr/>
        </p:nvSpPr>
        <p:spPr>
          <a:xfrm>
            <a:off x="1428494" y="2945085"/>
            <a:ext cx="8112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 – Low Potential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D3FB93-1817-B929-7321-3BE69046C92D}"/>
              </a:ext>
            </a:extLst>
          </p:cNvPr>
          <p:cNvSpPr txBox="1"/>
          <p:nvPr/>
        </p:nvSpPr>
        <p:spPr>
          <a:xfrm>
            <a:off x="1450050" y="2074437"/>
            <a:ext cx="8112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 – Moderate Potential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4BCD36B-2121-57ED-6AF5-F227512DE2DF}"/>
              </a:ext>
            </a:extLst>
          </p:cNvPr>
          <p:cNvSpPr txBox="1"/>
          <p:nvPr/>
        </p:nvSpPr>
        <p:spPr>
          <a:xfrm>
            <a:off x="1432358" y="1549307"/>
            <a:ext cx="8112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 – High Potential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0C296B6-FC78-4C4D-1ADD-B171160EB357}"/>
              </a:ext>
            </a:extLst>
          </p:cNvPr>
          <p:cNvGrpSpPr/>
          <p:nvPr/>
        </p:nvGrpSpPr>
        <p:grpSpPr>
          <a:xfrm rot="16200000">
            <a:off x="-292917" y="1925442"/>
            <a:ext cx="2298735" cy="726896"/>
            <a:chOff x="1681963" y="4310209"/>
            <a:chExt cx="3931920" cy="808297"/>
          </a:xfrm>
        </p:grpSpPr>
        <p:sp>
          <p:nvSpPr>
            <p:cNvPr id="32" name="Arrow: Right 31">
              <a:extLst>
                <a:ext uri="{FF2B5EF4-FFF2-40B4-BE49-F238E27FC236}">
                  <a16:creationId xmlns:a16="http://schemas.microsoft.com/office/drawing/2014/main" id="{1E3E0CF5-38DF-B6B4-7290-234A626EF171}"/>
                </a:ext>
              </a:extLst>
            </p:cNvPr>
            <p:cNvSpPr/>
            <p:nvPr/>
          </p:nvSpPr>
          <p:spPr>
            <a:xfrm>
              <a:off x="1681963" y="4583950"/>
              <a:ext cx="3931920" cy="534556"/>
            </a:xfrm>
            <a:prstGeom prst="rightArrow">
              <a:avLst/>
            </a:prstGeom>
            <a:solidFill>
              <a:srgbClr val="FAA74A"/>
            </a:solidFill>
            <a:ln>
              <a:solidFill>
                <a:srgbClr val="FAA74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</a:pPr>
              <a:r>
                <a:rPr lang="en-US" sz="1400" dirty="0">
                  <a:effectLst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POTENTIAL</a:t>
              </a:r>
            </a:p>
          </p:txBody>
        </p:sp>
        <p:sp>
          <p:nvSpPr>
            <p:cNvPr id="33" name="Text Box 2">
              <a:extLst>
                <a:ext uri="{FF2B5EF4-FFF2-40B4-BE49-F238E27FC236}">
                  <a16:creationId xmlns:a16="http://schemas.microsoft.com/office/drawing/2014/main" id="{4F8DFEF2-8B6C-28EC-DB44-CA9D597C890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41145" y="4310209"/>
              <a:ext cx="980499" cy="27374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marL="0" marR="0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</a:pPr>
              <a:r>
                <a:rPr lang="en-US" sz="1100" dirty="0">
                  <a:effectLst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LOW</a:t>
              </a:r>
            </a:p>
          </p:txBody>
        </p:sp>
        <p:sp>
          <p:nvSpPr>
            <p:cNvPr id="34" name="Text Box 2">
              <a:extLst>
                <a:ext uri="{FF2B5EF4-FFF2-40B4-BE49-F238E27FC236}">
                  <a16:creationId xmlns:a16="http://schemas.microsoft.com/office/drawing/2014/main" id="{FAEA368E-3002-BE07-A324-7F76D974B19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28995" y="4315010"/>
              <a:ext cx="1666875" cy="28392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marL="0" marR="0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</a:pPr>
              <a:r>
                <a:rPr lang="en-US" sz="1100" dirty="0">
                  <a:effectLst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MODERATE</a:t>
              </a:r>
            </a:p>
          </p:txBody>
        </p:sp>
        <p:sp>
          <p:nvSpPr>
            <p:cNvPr id="35" name="Text Box 2">
              <a:extLst>
                <a:ext uri="{FF2B5EF4-FFF2-40B4-BE49-F238E27FC236}">
                  <a16:creationId xmlns:a16="http://schemas.microsoft.com/office/drawing/2014/main" id="{87029497-C844-379B-B774-FB8388B8785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58323" y="4310209"/>
              <a:ext cx="922553" cy="27374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marL="0" marR="0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</a:pPr>
              <a:r>
                <a:rPr lang="en-US" sz="1100" dirty="0">
                  <a:effectLst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HIGH</a:t>
              </a: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B7A1A05-F124-340A-B0DA-D4F1CFE5CE96}"/>
              </a:ext>
            </a:extLst>
          </p:cNvPr>
          <p:cNvSpPr txBox="1"/>
          <p:nvPr/>
        </p:nvSpPr>
        <p:spPr>
          <a:xfrm>
            <a:off x="4418998" y="1198482"/>
            <a:ext cx="6215664" cy="357020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1">
              <a:buClr>
                <a:srgbClr val="FAA74A"/>
              </a:buClr>
            </a:pPr>
            <a:endParaRPr lang="en-US" sz="12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tential  – 4 Areas were pre-determined with an equal weigh</a:t>
            </a:r>
          </a:p>
          <a:p>
            <a:pPr marL="1257300" lvl="4" indent="-342900">
              <a:buClr>
                <a:srgbClr val="FAA74A"/>
              </a:buClr>
              <a:buFont typeface="Wingdings" panose="05000000000000000000" pitchFamily="2" charset="2"/>
              <a:buChar char="ü"/>
            </a:pPr>
            <a:endParaRPr lang="en-US" sz="10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257300" lvl="4" indent="-342900">
              <a:buClr>
                <a:srgbClr val="FAA74A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piration (0-3)/Professional Goals</a:t>
            </a:r>
          </a:p>
          <a:p>
            <a:pPr marL="914400" lvl="4">
              <a:buClr>
                <a:srgbClr val="FAA74A"/>
              </a:buClr>
            </a:pPr>
            <a:r>
              <a:rPr lang="en-US" sz="12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     ambition to achieve more</a:t>
            </a:r>
          </a:p>
          <a:p>
            <a:pPr marL="1257300" lvl="4" indent="-342900">
              <a:buClr>
                <a:srgbClr val="FAA74A"/>
              </a:buClr>
              <a:buFont typeface="Wingdings" panose="05000000000000000000" pitchFamily="2" charset="2"/>
              <a:buChar char="ü"/>
            </a:pPr>
            <a:endParaRPr lang="en-US" sz="12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257300" lvl="4" indent="-342900">
              <a:buClr>
                <a:srgbClr val="FAA74A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bility (0-3)</a:t>
            </a:r>
          </a:p>
          <a:p>
            <a:pPr marL="914400" lvl="4">
              <a:buClr>
                <a:srgbClr val="FAA74A"/>
              </a:buClr>
            </a:pPr>
            <a:r>
              <a:rPr lang="en-US" sz="12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     competence, capability, talent</a:t>
            </a:r>
          </a:p>
          <a:p>
            <a:pPr marL="1257300" lvl="4" indent="-342900">
              <a:buClr>
                <a:srgbClr val="FAA74A"/>
              </a:buClr>
              <a:buFont typeface="Wingdings" panose="05000000000000000000" pitchFamily="2" charset="2"/>
              <a:buChar char="ü"/>
            </a:pPr>
            <a:endParaRPr lang="en-US" sz="12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257300" lvl="4" indent="-342900">
              <a:buClr>
                <a:srgbClr val="FAA74A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ngagement (0-3)</a:t>
            </a:r>
          </a:p>
          <a:p>
            <a:pPr marL="914400" lvl="4">
              <a:buClr>
                <a:srgbClr val="FAA74A"/>
              </a:buClr>
            </a:pPr>
            <a:r>
              <a:rPr lang="en-US" sz="12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     discretionary effort: willingness to go above and beyond; commitment to the culture, company mission, and objectives</a:t>
            </a:r>
          </a:p>
          <a:p>
            <a:pPr marL="1257300" lvl="4" indent="-342900">
              <a:buClr>
                <a:srgbClr val="FAA74A"/>
              </a:buClr>
              <a:buFont typeface="Wingdings" panose="05000000000000000000" pitchFamily="2" charset="2"/>
              <a:buChar char="ü"/>
            </a:pPr>
            <a:endParaRPr lang="en-US" sz="12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257300" lvl="4" indent="-342900">
              <a:buClr>
                <a:srgbClr val="FAA74A"/>
              </a:buClr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alue Alignment (0-3)</a:t>
            </a:r>
          </a:p>
          <a:p>
            <a:pPr marL="914400" lvl="4">
              <a:buClr>
                <a:srgbClr val="FAA74A"/>
              </a:buClr>
            </a:pPr>
            <a:r>
              <a:rPr lang="en-US" sz="12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     observed alignment with Axos values such as emotional involvement, growth in   competence/knowledge, character, superior individual performance     within our meritocracy, etc.</a:t>
            </a:r>
          </a:p>
          <a:p>
            <a:pPr marL="914400" lvl="4">
              <a:buClr>
                <a:srgbClr val="FAA74A"/>
              </a:buClr>
            </a:pPr>
            <a:endParaRPr lang="en-US" sz="12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914400" lvl="4">
              <a:buClr>
                <a:srgbClr val="FAA74A"/>
              </a:buClr>
            </a:pPr>
            <a:r>
              <a:rPr lang="en-US" sz="1200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New attribute* Learning Agility</a:t>
            </a:r>
          </a:p>
        </p:txBody>
      </p:sp>
    </p:spTree>
    <p:extLst>
      <p:ext uri="{BB962C8B-B14F-4D97-AF65-F5344CB8AC3E}">
        <p14:creationId xmlns:p14="http://schemas.microsoft.com/office/powerpoint/2010/main" val="39429743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F1BFAA-0A50-255A-1459-F4BD7E22B7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086806-F06D-AB28-8332-1752CBBE87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alent Matrix Demonstration: Performance by Pot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D8E10D-55A3-335D-7308-76AD06B4812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609585"/>
            <a:fld id="{9EDC855F-5393-4ECC-82A4-1DDB6B23846B}" type="slidenum">
              <a:rPr lang="en-US">
                <a:solidFill>
                  <a:srgbClr val="1E3860">
                    <a:tint val="75000"/>
                  </a:srgb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defTabSz="609585"/>
              <a:t>4</a:t>
            </a:fld>
            <a:endParaRPr lang="en-US" dirty="0">
              <a:solidFill>
                <a:srgbClr val="1E3860">
                  <a:tint val="75000"/>
                </a:srgb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46F794AD-0024-A96F-AE17-13786FD8DEBD}"/>
              </a:ext>
            </a:extLst>
          </p:cNvPr>
          <p:cNvSpPr/>
          <p:nvPr/>
        </p:nvSpPr>
        <p:spPr>
          <a:xfrm>
            <a:off x="3559534" y="6184915"/>
            <a:ext cx="5859721" cy="640963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>
              <a:lnSpc>
                <a:spcPct val="107000"/>
              </a:lnSpc>
              <a:spcAft>
                <a:spcPts val="1067"/>
              </a:spcAft>
            </a:pPr>
            <a:r>
              <a:rPr lang="en-US" sz="1867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FORMANCE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EB1B51ED-4020-9A95-6638-C964C266DF9F}"/>
              </a:ext>
            </a:extLst>
          </p:cNvPr>
          <p:cNvSpPr/>
          <p:nvPr/>
        </p:nvSpPr>
        <p:spPr>
          <a:xfrm rot="16200000">
            <a:off x="-232232" y="3455884"/>
            <a:ext cx="4951919" cy="629440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>
              <a:lnSpc>
                <a:spcPct val="107000"/>
              </a:lnSpc>
              <a:spcAft>
                <a:spcPts val="1067"/>
              </a:spcAft>
            </a:pPr>
            <a:r>
              <a:rPr lang="en-US" sz="1867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TENTIA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E2BFB6A-410A-8F54-4AED-949178E94FB1}"/>
              </a:ext>
            </a:extLst>
          </p:cNvPr>
          <p:cNvSpPr/>
          <p:nvPr/>
        </p:nvSpPr>
        <p:spPr>
          <a:xfrm>
            <a:off x="7831461" y="1299367"/>
            <a:ext cx="2404129" cy="1521637"/>
          </a:xfrm>
          <a:prstGeom prst="rect">
            <a:avLst/>
          </a:prstGeom>
          <a:solidFill>
            <a:srgbClr val="CCFF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stered current role and is ready for a new challenge. Next steps are to provide greater scale and/or scope or a new assignment that will stretch them in a significant way, or will provide new or missing skills. Retention is critical. These are the future leaders of the company.</a:t>
            </a:r>
          </a:p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. STRETCH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CEA9243-45F6-8C39-A5A3-87B46DDD885A}"/>
              </a:ext>
            </a:extLst>
          </p:cNvPr>
          <p:cNvSpPr/>
          <p:nvPr/>
        </p:nvSpPr>
        <p:spPr>
          <a:xfrm>
            <a:off x="5378882" y="1294644"/>
            <a:ext cx="2404129" cy="1521637"/>
          </a:xfrm>
          <a:prstGeom prst="rect">
            <a:avLst/>
          </a:prstGeom>
          <a:solidFill>
            <a:srgbClr val="CCFF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 valuable asset for the future. There is still room for maximizing performance in current role; potential may not be fully realized yet. Focus on increasing performance contribution to high, after which greater challenge and/or broader scope are likely.</a:t>
            </a:r>
          </a:p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8. STRETCH/DEVELO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686FE10-FA32-6433-DE4C-331C4FBE93C6}"/>
              </a:ext>
            </a:extLst>
          </p:cNvPr>
          <p:cNvSpPr/>
          <p:nvPr/>
        </p:nvSpPr>
        <p:spPr>
          <a:xfrm>
            <a:off x="2926310" y="1299374"/>
            <a:ext cx="2404129" cy="1521637"/>
          </a:xfrm>
          <a:prstGeom prst="rect">
            <a:avLst/>
          </a:prstGeom>
          <a:solidFill>
            <a:srgbClr val="FEF0D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y be someone who was recently promoted and hasn’t had a chance to demonstrate higher performance. Focus on coaching and a solid development plan. If individual has been in the role for some time, there may be a serious issue. </a:t>
            </a:r>
          </a:p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7. DEVELOP</a:t>
            </a:r>
            <a:endParaRPr lang="en-US" sz="9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3D43BCB-2B12-C5F0-A746-948C01F66746}"/>
              </a:ext>
            </a:extLst>
          </p:cNvPr>
          <p:cNvSpPr/>
          <p:nvPr/>
        </p:nvSpPr>
        <p:spPr>
          <a:xfrm>
            <a:off x="7826738" y="2854078"/>
            <a:ext cx="2404129" cy="1521637"/>
          </a:xfrm>
          <a:prstGeom prst="rect">
            <a:avLst/>
          </a:prstGeom>
          <a:solidFill>
            <a:srgbClr val="CCFF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urrent star who is exceeding performance expectations. Good at tactical/operational work, but needs more focus on strategic thinking.</a:t>
            </a:r>
          </a:p>
          <a:p>
            <a:pPr algn="ctr" defTabSz="609585"/>
            <a:endParaRPr lang="en-US" sz="13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6. STRETCH/DEVELOP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62F980E-45D7-381E-D06C-76D99EBBEF8A}"/>
              </a:ext>
            </a:extLst>
          </p:cNvPr>
          <p:cNvSpPr/>
          <p:nvPr/>
        </p:nvSpPr>
        <p:spPr>
          <a:xfrm>
            <a:off x="5374160" y="2858806"/>
            <a:ext cx="2404129" cy="1521637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as potential for increased accountabilities and is meeting current performance expectations. Development focus: Increase performance contribution to “high” with further assessment of potential growth.</a:t>
            </a:r>
          </a:p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. DEVELOP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8417E33-EF38-3BB3-2259-9EC476B0679A}"/>
              </a:ext>
            </a:extLst>
          </p:cNvPr>
          <p:cNvSpPr/>
          <p:nvPr/>
        </p:nvSpPr>
        <p:spPr>
          <a:xfrm>
            <a:off x="2921588" y="2863535"/>
            <a:ext cx="2404129" cy="1521637"/>
          </a:xfrm>
          <a:prstGeom prst="rect">
            <a:avLst/>
          </a:prstGeom>
          <a:solidFill>
            <a:srgbClr val="FFC1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hows some potential, but performance is low. Focus on reasons for low performance and actions to improve it. If there isn’t an improvement, potential should be reassessed and a PIP put in place.</a:t>
            </a:r>
          </a:p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. OBSERVE</a:t>
            </a:r>
            <a:endParaRPr lang="en-US" sz="9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C1857F1-44B1-9963-81CD-BCE19CFE59B3}"/>
              </a:ext>
            </a:extLst>
          </p:cNvPr>
          <p:cNvSpPr/>
          <p:nvPr/>
        </p:nvSpPr>
        <p:spPr>
          <a:xfrm>
            <a:off x="7831468" y="4418243"/>
            <a:ext cx="2404129" cy="1521637"/>
          </a:xfrm>
          <a:prstGeom prst="rect">
            <a:avLst/>
          </a:prstGeom>
          <a:solidFill>
            <a:srgbClr val="FEF0D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 strong performer, but unlikely to move to a higher-level role. Engagement will be important for continued motivation and retention. May be of real value for developing others. Professional, business or content experts may fall into this box.</a:t>
            </a:r>
          </a:p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. DEVELOP</a:t>
            </a:r>
            <a:endParaRPr lang="en-US" sz="9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0C2CEED-E7C7-F8DD-F83B-24CF3A63CF4B}"/>
              </a:ext>
            </a:extLst>
          </p:cNvPr>
          <p:cNvSpPr/>
          <p:nvPr/>
        </p:nvSpPr>
        <p:spPr>
          <a:xfrm>
            <a:off x="5378889" y="4422971"/>
            <a:ext cx="2404129" cy="1521637"/>
          </a:xfrm>
          <a:prstGeom prst="rect">
            <a:avLst/>
          </a:prstGeom>
          <a:solidFill>
            <a:srgbClr val="FFC1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sistent contributor, but shows limited potential. Focus on maximizing performance while assessing future potential and/or a more suitable role. May need a plan for a successor. In some cases, if performance declines or is blocked, retention may be reviewed.</a:t>
            </a:r>
          </a:p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. OBSERVE</a:t>
            </a:r>
            <a:endParaRPr lang="en-US" sz="9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B2A6759-CFE7-8037-0FDE-BA86796AE9FB}"/>
              </a:ext>
            </a:extLst>
          </p:cNvPr>
          <p:cNvSpPr/>
          <p:nvPr/>
        </p:nvSpPr>
        <p:spPr>
          <a:xfrm>
            <a:off x="2926317" y="4427700"/>
            <a:ext cx="2404129" cy="1521637"/>
          </a:xfrm>
          <a:prstGeom prst="rect">
            <a:avLst/>
          </a:prstGeom>
          <a:solidFill>
            <a:srgbClr val="FFC1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ot meeting performance expectations and demonstrates limited potential. Focus should be on significant performance improvement or finding a more suitable role (internal or external).</a:t>
            </a:r>
          </a:p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. OBSERVE/EXIT</a:t>
            </a:r>
            <a:endParaRPr lang="en-US" sz="1600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64C9E0A-66BE-7103-04EF-04856D84433E}"/>
              </a:ext>
            </a:extLst>
          </p:cNvPr>
          <p:cNvSpPr txBox="1"/>
          <p:nvPr/>
        </p:nvSpPr>
        <p:spPr>
          <a:xfrm rot="16200000">
            <a:off x="378702" y="3840535"/>
            <a:ext cx="4432596" cy="37946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ability to assume increasingly broad or complex accountabilities as business needs change during the next </a:t>
            </a:r>
            <a:r>
              <a:rPr lang="en-US" sz="9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2-18 months</a:t>
            </a:r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11CAEA2-C039-B831-796A-1C94104602A0}"/>
              </a:ext>
            </a:extLst>
          </p:cNvPr>
          <p:cNvSpPr txBox="1"/>
          <p:nvPr/>
        </p:nvSpPr>
        <p:spPr>
          <a:xfrm>
            <a:off x="3559533" y="5969565"/>
            <a:ext cx="5703415" cy="37946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extent to which the individual: a) delivers business/functional results, b) demonstrates core competencies, c) acts in the spirit of the company’s values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8DEE63F-B11E-97A4-974E-96D0C52F5383}"/>
              </a:ext>
            </a:extLst>
          </p:cNvPr>
          <p:cNvSpPr txBox="1"/>
          <p:nvPr/>
        </p:nvSpPr>
        <p:spPr>
          <a:xfrm>
            <a:off x="478789" y="200777"/>
            <a:ext cx="1060123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dirty="0">
                <a:solidFill>
                  <a:srgbClr val="FAA74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BC 9 Box Review</a:t>
            </a:r>
          </a:p>
        </p:txBody>
      </p:sp>
    </p:spTree>
    <p:extLst>
      <p:ext uri="{BB962C8B-B14F-4D97-AF65-F5344CB8AC3E}">
        <p14:creationId xmlns:p14="http://schemas.microsoft.com/office/powerpoint/2010/main" val="27914859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A5F2E1F4-E30E-B09E-762B-DA4240B5E0E1}"/>
              </a:ext>
            </a:extLst>
          </p:cNvPr>
          <p:cNvGrpSpPr/>
          <p:nvPr/>
        </p:nvGrpSpPr>
        <p:grpSpPr>
          <a:xfrm>
            <a:off x="9767232" y="5779125"/>
            <a:ext cx="2870049" cy="715416"/>
            <a:chOff x="9558775" y="410380"/>
            <a:chExt cx="3926302" cy="923642"/>
          </a:xfrm>
        </p:grpSpPr>
        <p:pic>
          <p:nvPicPr>
            <p:cNvPr id="7" name="Picture 6" descr="A blue and yellow logo&#10;&#10;Description automatically generated">
              <a:extLst>
                <a:ext uri="{FF2B5EF4-FFF2-40B4-BE49-F238E27FC236}">
                  <a16:creationId xmlns:a16="http://schemas.microsoft.com/office/drawing/2014/main" id="{1B3F976B-A45F-590A-6B29-74CAB8DA071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58775" y="410380"/>
              <a:ext cx="2387681" cy="52133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46C0E8D-78DA-EDC6-852D-2C0E3B18CBE6}"/>
                </a:ext>
              </a:extLst>
            </p:cNvPr>
            <p:cNvSpPr txBox="1"/>
            <p:nvPr/>
          </p:nvSpPr>
          <p:spPr>
            <a:xfrm>
              <a:off x="9933802" y="1087801"/>
              <a:ext cx="35512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kern="1500" spc="120" dirty="0">
                  <a:solidFill>
                    <a:srgbClr val="1E386A"/>
                  </a:solidFill>
                  <a:latin typeface="Libre Franklin" pitchFamily="2" charset="0"/>
                </a:rPr>
                <a:t>BUSINESS CENTER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876FB2BD-011C-DA10-7D02-9842C1FB65CE}"/>
              </a:ext>
            </a:extLst>
          </p:cNvPr>
          <p:cNvSpPr/>
          <p:nvPr/>
        </p:nvSpPr>
        <p:spPr>
          <a:xfrm>
            <a:off x="4052316" y="6735661"/>
            <a:ext cx="4114800" cy="136525"/>
          </a:xfrm>
          <a:prstGeom prst="rect">
            <a:avLst/>
          </a:prstGeom>
          <a:solidFill>
            <a:srgbClr val="FAA7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D74649-5D80-3341-647E-8E7C971A5B30}"/>
              </a:ext>
            </a:extLst>
          </p:cNvPr>
          <p:cNvSpPr/>
          <p:nvPr/>
        </p:nvSpPr>
        <p:spPr>
          <a:xfrm>
            <a:off x="8141208" y="6735661"/>
            <a:ext cx="4050792" cy="136525"/>
          </a:xfrm>
          <a:prstGeom prst="rect">
            <a:avLst/>
          </a:prstGeom>
          <a:solidFill>
            <a:srgbClr val="DAE8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E9D1C23-028B-3040-016D-C3D918E0D497}"/>
              </a:ext>
            </a:extLst>
          </p:cNvPr>
          <p:cNvSpPr/>
          <p:nvPr/>
        </p:nvSpPr>
        <p:spPr>
          <a:xfrm>
            <a:off x="0" y="6735661"/>
            <a:ext cx="4114800" cy="136525"/>
          </a:xfrm>
          <a:prstGeom prst="rect">
            <a:avLst/>
          </a:prstGeom>
          <a:solidFill>
            <a:srgbClr val="1E38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AEF5570E-CE47-EA69-D201-A59A8AA7EE9A}"/>
              </a:ext>
            </a:extLst>
          </p:cNvPr>
          <p:cNvSpPr txBox="1"/>
          <p:nvPr/>
        </p:nvSpPr>
        <p:spPr>
          <a:xfrm>
            <a:off x="711250" y="306705"/>
            <a:ext cx="106012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FAA74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 Box View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B7A1A05-F124-340A-B0DA-D4F1CFE5CE96}"/>
              </a:ext>
            </a:extLst>
          </p:cNvPr>
          <p:cNvSpPr txBox="1"/>
          <p:nvPr/>
        </p:nvSpPr>
        <p:spPr>
          <a:xfrm>
            <a:off x="573830" y="769227"/>
            <a:ext cx="11265243" cy="692497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1">
              <a:buClr>
                <a:srgbClr val="FAA74A"/>
              </a:buClr>
            </a:pPr>
            <a:endParaRPr lang="en-US" sz="20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iew for 9 Box Tagging</a:t>
            </a:r>
          </a:p>
          <a:p>
            <a:pPr marL="800100" lvl="1" indent="-342900">
              <a:buClr>
                <a:srgbClr val="FAA74A"/>
              </a:buClr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velopment/Directional Recommendations</a:t>
            </a:r>
          </a:p>
          <a:p>
            <a:pPr>
              <a:buClr>
                <a:srgbClr val="FAA74A"/>
              </a:buClr>
            </a:pPr>
            <a:endParaRPr lang="en-US" sz="20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formance by Retention Risk</a:t>
            </a:r>
          </a:p>
          <a:p>
            <a:pPr marL="800100" lvl="1" indent="-342900">
              <a:buClr>
                <a:srgbClr val="FAA74A"/>
              </a:buClr>
              <a:buFont typeface="Wingdings" panose="05000000000000000000" pitchFamily="2" charset="2"/>
              <a:buChar char="ü"/>
            </a:pPr>
            <a:r>
              <a:rPr lang="en-US" dirty="0"/>
              <a:t>identifies high performers with a high retention risk; may be useful in assessing retention plans for high performers.</a:t>
            </a:r>
          </a:p>
          <a:p>
            <a:pPr lvl="1">
              <a:buClr>
                <a:srgbClr val="FAA74A"/>
              </a:buClr>
            </a:pPr>
            <a:endParaRPr lang="en-US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ention Risk by Loss Impact</a:t>
            </a:r>
          </a:p>
          <a:p>
            <a:pPr marL="800100" lvl="1" indent="-342900">
              <a:buClr>
                <a:srgbClr val="FAA74A"/>
              </a:buClr>
              <a:buFont typeface="Wingdings" panose="05000000000000000000" pitchFamily="2" charset="2"/>
              <a:buChar char="ü"/>
            </a:pPr>
            <a:r>
              <a:rPr lang="en-US" sz="1800" dirty="0"/>
              <a:t>high loss impact employees should be moderate-to high-performing; provide opportunity to identify incongruencies (inconsistencies).</a:t>
            </a:r>
            <a:endParaRPr lang="en-US" sz="20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rgbClr val="FAA74A"/>
              </a:buClr>
            </a:pPr>
            <a:endParaRPr lang="en-US" sz="20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formance by Loss Impact</a:t>
            </a:r>
            <a:endParaRPr lang="en-US" sz="20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800100" lvl="1" indent="-342900">
              <a:buClr>
                <a:srgbClr val="FAA74A"/>
              </a:buClr>
              <a:buFont typeface="Wingdings" panose="05000000000000000000" pitchFamily="2" charset="2"/>
              <a:buChar char="ü"/>
            </a:pPr>
            <a:r>
              <a:rPr lang="en-US" dirty="0"/>
              <a:t>identifies high retention risk combined with high loss impact roles; may be impactful in understanding roles to prioritize succession planning for.</a:t>
            </a:r>
          </a:p>
          <a:p>
            <a:pPr marL="800100" lvl="1" indent="-342900">
              <a:buClr>
                <a:srgbClr val="FAA74A"/>
              </a:buClr>
              <a:buFont typeface="Wingdings" panose="05000000000000000000" pitchFamily="2" charset="2"/>
              <a:buChar char="ü"/>
            </a:pPr>
            <a:endParaRPr lang="en-US" sz="20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257300" lvl="4" indent="-342900">
              <a:buClr>
                <a:srgbClr val="FAA74A"/>
              </a:buClr>
              <a:buFont typeface="Wingdings" panose="05000000000000000000" pitchFamily="2" charset="2"/>
              <a:buChar char="ü"/>
            </a:pPr>
            <a:endParaRPr lang="en-US" sz="2000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06104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5D16A9EA-F8F3-2AD9-A320-3131A640A64D}"/>
              </a:ext>
            </a:extLst>
          </p:cNvPr>
          <p:cNvSpPr/>
          <p:nvPr/>
        </p:nvSpPr>
        <p:spPr>
          <a:xfrm>
            <a:off x="3529417" y="-462417"/>
            <a:ext cx="9356651" cy="7808225"/>
          </a:xfrm>
          <a:custGeom>
            <a:avLst/>
            <a:gdLst>
              <a:gd name="connsiteX0" fmla="*/ 0 w 2477256"/>
              <a:gd name="connsiteY0" fmla="*/ 4141086 h 4141086"/>
              <a:gd name="connsiteX1" fmla="*/ 924350 w 2477256"/>
              <a:gd name="connsiteY1" fmla="*/ 4141086 h 4141086"/>
              <a:gd name="connsiteX2" fmla="*/ 2477257 w 2477256"/>
              <a:gd name="connsiteY2" fmla="*/ 2070543 h 4141086"/>
              <a:gd name="connsiteX3" fmla="*/ 924350 w 2477256"/>
              <a:gd name="connsiteY3" fmla="*/ 0 h 4141086"/>
              <a:gd name="connsiteX4" fmla="*/ 0 w 2477256"/>
              <a:gd name="connsiteY4" fmla="*/ 0 h 4141086"/>
              <a:gd name="connsiteX5" fmla="*/ 1552907 w 2477256"/>
              <a:gd name="connsiteY5" fmla="*/ 2070543 h 4141086"/>
              <a:gd name="connsiteX6" fmla="*/ 0 w 2477256"/>
              <a:gd name="connsiteY6" fmla="*/ 4141086 h 4141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77256" h="4141086">
                <a:moveTo>
                  <a:pt x="0" y="4141086"/>
                </a:moveTo>
                <a:lnTo>
                  <a:pt x="924350" y="4141086"/>
                </a:lnTo>
                <a:lnTo>
                  <a:pt x="2477257" y="2070543"/>
                </a:lnTo>
                <a:lnTo>
                  <a:pt x="924350" y="0"/>
                </a:lnTo>
                <a:lnTo>
                  <a:pt x="0" y="0"/>
                </a:lnTo>
                <a:lnTo>
                  <a:pt x="1552907" y="2070543"/>
                </a:lnTo>
                <a:lnTo>
                  <a:pt x="0" y="4141086"/>
                </a:lnTo>
                <a:close/>
              </a:path>
            </a:pathLst>
          </a:custGeom>
          <a:solidFill>
            <a:srgbClr val="2C4F78">
              <a:alpha val="10000"/>
            </a:srgbClr>
          </a:solidFill>
          <a:ln w="7391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A67BD9A1-95FE-11DC-6EAC-0BCB4D83732F}"/>
              </a:ext>
            </a:extLst>
          </p:cNvPr>
          <p:cNvSpPr/>
          <p:nvPr/>
        </p:nvSpPr>
        <p:spPr>
          <a:xfrm>
            <a:off x="4901017" y="-475115"/>
            <a:ext cx="9356651" cy="7808225"/>
          </a:xfrm>
          <a:custGeom>
            <a:avLst/>
            <a:gdLst>
              <a:gd name="connsiteX0" fmla="*/ 0 w 2477256"/>
              <a:gd name="connsiteY0" fmla="*/ 4141086 h 4141086"/>
              <a:gd name="connsiteX1" fmla="*/ 924350 w 2477256"/>
              <a:gd name="connsiteY1" fmla="*/ 4141086 h 4141086"/>
              <a:gd name="connsiteX2" fmla="*/ 2477257 w 2477256"/>
              <a:gd name="connsiteY2" fmla="*/ 2070543 h 4141086"/>
              <a:gd name="connsiteX3" fmla="*/ 924350 w 2477256"/>
              <a:gd name="connsiteY3" fmla="*/ 0 h 4141086"/>
              <a:gd name="connsiteX4" fmla="*/ 0 w 2477256"/>
              <a:gd name="connsiteY4" fmla="*/ 0 h 4141086"/>
              <a:gd name="connsiteX5" fmla="*/ 1552907 w 2477256"/>
              <a:gd name="connsiteY5" fmla="*/ 2070543 h 4141086"/>
              <a:gd name="connsiteX6" fmla="*/ 0 w 2477256"/>
              <a:gd name="connsiteY6" fmla="*/ 4141086 h 4141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77256" h="4141086">
                <a:moveTo>
                  <a:pt x="0" y="4141086"/>
                </a:moveTo>
                <a:lnTo>
                  <a:pt x="924350" y="4141086"/>
                </a:lnTo>
                <a:lnTo>
                  <a:pt x="2477257" y="2070543"/>
                </a:lnTo>
                <a:lnTo>
                  <a:pt x="924350" y="0"/>
                </a:lnTo>
                <a:lnTo>
                  <a:pt x="0" y="0"/>
                </a:lnTo>
                <a:lnTo>
                  <a:pt x="1552907" y="2070543"/>
                </a:lnTo>
                <a:lnTo>
                  <a:pt x="0" y="4141086"/>
                </a:lnTo>
                <a:close/>
              </a:path>
            </a:pathLst>
          </a:custGeom>
          <a:solidFill>
            <a:srgbClr val="1E386A">
              <a:alpha val="47000"/>
            </a:srgbClr>
          </a:solidFill>
          <a:ln w="7391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85251C1-B524-FBFA-5C03-48E9C35A02A0}"/>
              </a:ext>
            </a:extLst>
          </p:cNvPr>
          <p:cNvSpPr txBox="1"/>
          <p:nvPr/>
        </p:nvSpPr>
        <p:spPr>
          <a:xfrm>
            <a:off x="435428" y="3075054"/>
            <a:ext cx="73787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1E386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ey Output for 9 Box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CA34D96B-17AD-0B17-8EAB-260A11DD0E3F}"/>
              </a:ext>
            </a:extLst>
          </p:cNvPr>
          <p:cNvSpPr/>
          <p:nvPr/>
        </p:nvSpPr>
        <p:spPr>
          <a:xfrm>
            <a:off x="4901016" y="-449719"/>
            <a:ext cx="9356651" cy="7808225"/>
          </a:xfrm>
          <a:custGeom>
            <a:avLst/>
            <a:gdLst>
              <a:gd name="connsiteX0" fmla="*/ 0 w 2477256"/>
              <a:gd name="connsiteY0" fmla="*/ 4141086 h 4141086"/>
              <a:gd name="connsiteX1" fmla="*/ 924350 w 2477256"/>
              <a:gd name="connsiteY1" fmla="*/ 4141086 h 4141086"/>
              <a:gd name="connsiteX2" fmla="*/ 2477257 w 2477256"/>
              <a:gd name="connsiteY2" fmla="*/ 2070543 h 4141086"/>
              <a:gd name="connsiteX3" fmla="*/ 924350 w 2477256"/>
              <a:gd name="connsiteY3" fmla="*/ 0 h 4141086"/>
              <a:gd name="connsiteX4" fmla="*/ 0 w 2477256"/>
              <a:gd name="connsiteY4" fmla="*/ 0 h 4141086"/>
              <a:gd name="connsiteX5" fmla="*/ 1552907 w 2477256"/>
              <a:gd name="connsiteY5" fmla="*/ 2070543 h 4141086"/>
              <a:gd name="connsiteX6" fmla="*/ 0 w 2477256"/>
              <a:gd name="connsiteY6" fmla="*/ 4141086 h 4141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77256" h="4141086">
                <a:moveTo>
                  <a:pt x="0" y="4141086"/>
                </a:moveTo>
                <a:lnTo>
                  <a:pt x="924350" y="4141086"/>
                </a:lnTo>
                <a:lnTo>
                  <a:pt x="2477257" y="2070543"/>
                </a:lnTo>
                <a:lnTo>
                  <a:pt x="924350" y="0"/>
                </a:lnTo>
                <a:lnTo>
                  <a:pt x="0" y="0"/>
                </a:lnTo>
                <a:lnTo>
                  <a:pt x="1552907" y="2070543"/>
                </a:lnTo>
                <a:lnTo>
                  <a:pt x="0" y="4141086"/>
                </a:lnTo>
                <a:close/>
              </a:path>
            </a:pathLst>
          </a:custGeom>
          <a:solidFill>
            <a:srgbClr val="1E386A">
              <a:alpha val="47000"/>
            </a:srgbClr>
          </a:solidFill>
          <a:ln w="7391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CC7E121-8A66-89E6-F216-B220624F6F2A}"/>
              </a:ext>
            </a:extLst>
          </p:cNvPr>
          <p:cNvSpPr/>
          <p:nvPr/>
        </p:nvSpPr>
        <p:spPr>
          <a:xfrm>
            <a:off x="5251537" y="-429395"/>
            <a:ext cx="9356651" cy="7808225"/>
          </a:xfrm>
          <a:custGeom>
            <a:avLst/>
            <a:gdLst>
              <a:gd name="connsiteX0" fmla="*/ 0 w 2477256"/>
              <a:gd name="connsiteY0" fmla="*/ 4141086 h 4141086"/>
              <a:gd name="connsiteX1" fmla="*/ 924350 w 2477256"/>
              <a:gd name="connsiteY1" fmla="*/ 4141086 h 4141086"/>
              <a:gd name="connsiteX2" fmla="*/ 2477257 w 2477256"/>
              <a:gd name="connsiteY2" fmla="*/ 2070543 h 4141086"/>
              <a:gd name="connsiteX3" fmla="*/ 924350 w 2477256"/>
              <a:gd name="connsiteY3" fmla="*/ 0 h 4141086"/>
              <a:gd name="connsiteX4" fmla="*/ 0 w 2477256"/>
              <a:gd name="connsiteY4" fmla="*/ 0 h 4141086"/>
              <a:gd name="connsiteX5" fmla="*/ 1552907 w 2477256"/>
              <a:gd name="connsiteY5" fmla="*/ 2070543 h 4141086"/>
              <a:gd name="connsiteX6" fmla="*/ 0 w 2477256"/>
              <a:gd name="connsiteY6" fmla="*/ 4141086 h 4141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77256" h="4141086">
                <a:moveTo>
                  <a:pt x="0" y="4141086"/>
                </a:moveTo>
                <a:lnTo>
                  <a:pt x="924350" y="4141086"/>
                </a:lnTo>
                <a:lnTo>
                  <a:pt x="2477257" y="2070543"/>
                </a:lnTo>
                <a:lnTo>
                  <a:pt x="924350" y="0"/>
                </a:lnTo>
                <a:lnTo>
                  <a:pt x="0" y="0"/>
                </a:lnTo>
                <a:lnTo>
                  <a:pt x="1552907" y="2070543"/>
                </a:lnTo>
                <a:lnTo>
                  <a:pt x="0" y="4141086"/>
                </a:lnTo>
                <a:close/>
              </a:path>
            </a:pathLst>
          </a:custGeom>
          <a:solidFill>
            <a:srgbClr val="1E386A">
              <a:alpha val="47000"/>
            </a:srgbClr>
          </a:solidFill>
          <a:ln w="7391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5680E8A2-A5E5-ED5D-3430-61DDBF025E7D}"/>
              </a:ext>
            </a:extLst>
          </p:cNvPr>
          <p:cNvSpPr/>
          <p:nvPr/>
        </p:nvSpPr>
        <p:spPr>
          <a:xfrm>
            <a:off x="4300038" y="-475115"/>
            <a:ext cx="9356651" cy="7808225"/>
          </a:xfrm>
          <a:custGeom>
            <a:avLst/>
            <a:gdLst>
              <a:gd name="connsiteX0" fmla="*/ 0 w 2477256"/>
              <a:gd name="connsiteY0" fmla="*/ 4141086 h 4141086"/>
              <a:gd name="connsiteX1" fmla="*/ 924350 w 2477256"/>
              <a:gd name="connsiteY1" fmla="*/ 4141086 h 4141086"/>
              <a:gd name="connsiteX2" fmla="*/ 2477257 w 2477256"/>
              <a:gd name="connsiteY2" fmla="*/ 2070543 h 4141086"/>
              <a:gd name="connsiteX3" fmla="*/ 924350 w 2477256"/>
              <a:gd name="connsiteY3" fmla="*/ 0 h 4141086"/>
              <a:gd name="connsiteX4" fmla="*/ 0 w 2477256"/>
              <a:gd name="connsiteY4" fmla="*/ 0 h 4141086"/>
              <a:gd name="connsiteX5" fmla="*/ 1552907 w 2477256"/>
              <a:gd name="connsiteY5" fmla="*/ 2070543 h 4141086"/>
              <a:gd name="connsiteX6" fmla="*/ 0 w 2477256"/>
              <a:gd name="connsiteY6" fmla="*/ 4141086 h 4141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77256" h="4141086">
                <a:moveTo>
                  <a:pt x="0" y="4141086"/>
                </a:moveTo>
                <a:lnTo>
                  <a:pt x="924350" y="4141086"/>
                </a:lnTo>
                <a:lnTo>
                  <a:pt x="2477257" y="2070543"/>
                </a:lnTo>
                <a:lnTo>
                  <a:pt x="924350" y="0"/>
                </a:lnTo>
                <a:lnTo>
                  <a:pt x="0" y="0"/>
                </a:lnTo>
                <a:lnTo>
                  <a:pt x="1552907" y="2070543"/>
                </a:lnTo>
                <a:lnTo>
                  <a:pt x="0" y="4141086"/>
                </a:lnTo>
                <a:close/>
              </a:path>
            </a:pathLst>
          </a:custGeom>
          <a:solidFill>
            <a:srgbClr val="1E386A">
              <a:alpha val="47000"/>
            </a:srgbClr>
          </a:solidFill>
          <a:ln w="7391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7012EF87-404B-4D02-AB4B-F7E278DB4E1F}"/>
              </a:ext>
            </a:extLst>
          </p:cNvPr>
          <p:cNvSpPr/>
          <p:nvPr/>
        </p:nvSpPr>
        <p:spPr>
          <a:xfrm>
            <a:off x="4604838" y="-475115"/>
            <a:ext cx="9356651" cy="7808225"/>
          </a:xfrm>
          <a:custGeom>
            <a:avLst/>
            <a:gdLst>
              <a:gd name="connsiteX0" fmla="*/ 0 w 2477256"/>
              <a:gd name="connsiteY0" fmla="*/ 4141086 h 4141086"/>
              <a:gd name="connsiteX1" fmla="*/ 924350 w 2477256"/>
              <a:gd name="connsiteY1" fmla="*/ 4141086 h 4141086"/>
              <a:gd name="connsiteX2" fmla="*/ 2477257 w 2477256"/>
              <a:gd name="connsiteY2" fmla="*/ 2070543 h 4141086"/>
              <a:gd name="connsiteX3" fmla="*/ 924350 w 2477256"/>
              <a:gd name="connsiteY3" fmla="*/ 0 h 4141086"/>
              <a:gd name="connsiteX4" fmla="*/ 0 w 2477256"/>
              <a:gd name="connsiteY4" fmla="*/ 0 h 4141086"/>
              <a:gd name="connsiteX5" fmla="*/ 1552907 w 2477256"/>
              <a:gd name="connsiteY5" fmla="*/ 2070543 h 4141086"/>
              <a:gd name="connsiteX6" fmla="*/ 0 w 2477256"/>
              <a:gd name="connsiteY6" fmla="*/ 4141086 h 4141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77256" h="4141086">
                <a:moveTo>
                  <a:pt x="0" y="4141086"/>
                </a:moveTo>
                <a:lnTo>
                  <a:pt x="924350" y="4141086"/>
                </a:lnTo>
                <a:lnTo>
                  <a:pt x="2477257" y="2070543"/>
                </a:lnTo>
                <a:lnTo>
                  <a:pt x="924350" y="0"/>
                </a:lnTo>
                <a:lnTo>
                  <a:pt x="0" y="0"/>
                </a:lnTo>
                <a:lnTo>
                  <a:pt x="1552907" y="2070543"/>
                </a:lnTo>
                <a:lnTo>
                  <a:pt x="0" y="4141086"/>
                </a:lnTo>
                <a:close/>
              </a:path>
            </a:pathLst>
          </a:custGeom>
          <a:noFill/>
          <a:ln w="73918" cap="flat">
            <a:solidFill>
              <a:srgbClr val="FAA74A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3751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A5F2E1F4-E30E-B09E-762B-DA4240B5E0E1}"/>
              </a:ext>
            </a:extLst>
          </p:cNvPr>
          <p:cNvGrpSpPr/>
          <p:nvPr/>
        </p:nvGrpSpPr>
        <p:grpSpPr>
          <a:xfrm>
            <a:off x="9767232" y="5779125"/>
            <a:ext cx="2870049" cy="715416"/>
            <a:chOff x="9558775" y="410380"/>
            <a:chExt cx="3926302" cy="923642"/>
          </a:xfrm>
        </p:grpSpPr>
        <p:pic>
          <p:nvPicPr>
            <p:cNvPr id="7" name="Picture 6" descr="A blue and yellow logo&#10;&#10;Description automatically generated">
              <a:extLst>
                <a:ext uri="{FF2B5EF4-FFF2-40B4-BE49-F238E27FC236}">
                  <a16:creationId xmlns:a16="http://schemas.microsoft.com/office/drawing/2014/main" id="{1B3F976B-A45F-590A-6B29-74CAB8DA071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58775" y="410380"/>
              <a:ext cx="2387681" cy="52133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46C0E8D-78DA-EDC6-852D-2C0E3B18CBE6}"/>
                </a:ext>
              </a:extLst>
            </p:cNvPr>
            <p:cNvSpPr txBox="1"/>
            <p:nvPr/>
          </p:nvSpPr>
          <p:spPr>
            <a:xfrm>
              <a:off x="9933802" y="1087801"/>
              <a:ext cx="35512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kern="1500" spc="120" dirty="0">
                  <a:solidFill>
                    <a:srgbClr val="1E386A"/>
                  </a:solidFill>
                  <a:latin typeface="Libre Franklin" pitchFamily="2" charset="0"/>
                </a:rPr>
                <a:t>BUSINESS CENTER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876FB2BD-011C-DA10-7D02-9842C1FB65CE}"/>
              </a:ext>
            </a:extLst>
          </p:cNvPr>
          <p:cNvSpPr/>
          <p:nvPr/>
        </p:nvSpPr>
        <p:spPr>
          <a:xfrm>
            <a:off x="4052316" y="6735661"/>
            <a:ext cx="4114800" cy="136525"/>
          </a:xfrm>
          <a:prstGeom prst="rect">
            <a:avLst/>
          </a:prstGeom>
          <a:solidFill>
            <a:srgbClr val="FAA7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D74649-5D80-3341-647E-8E7C971A5B30}"/>
              </a:ext>
            </a:extLst>
          </p:cNvPr>
          <p:cNvSpPr/>
          <p:nvPr/>
        </p:nvSpPr>
        <p:spPr>
          <a:xfrm>
            <a:off x="8141208" y="6735661"/>
            <a:ext cx="4050792" cy="136525"/>
          </a:xfrm>
          <a:prstGeom prst="rect">
            <a:avLst/>
          </a:prstGeom>
          <a:solidFill>
            <a:srgbClr val="DAE8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E9D1C23-028B-3040-016D-C3D918E0D497}"/>
              </a:ext>
            </a:extLst>
          </p:cNvPr>
          <p:cNvSpPr/>
          <p:nvPr/>
        </p:nvSpPr>
        <p:spPr>
          <a:xfrm>
            <a:off x="0" y="6735661"/>
            <a:ext cx="4114800" cy="136525"/>
          </a:xfrm>
          <a:prstGeom prst="rect">
            <a:avLst/>
          </a:prstGeom>
          <a:solidFill>
            <a:srgbClr val="1E38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AEF5570E-CE47-EA69-D201-A59A8AA7EE9A}"/>
              </a:ext>
            </a:extLst>
          </p:cNvPr>
          <p:cNvSpPr txBox="1"/>
          <p:nvPr/>
        </p:nvSpPr>
        <p:spPr>
          <a:xfrm>
            <a:off x="711250" y="306705"/>
            <a:ext cx="106012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FAA74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BC 9 BOX OUTPU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69953C-A7C9-DF4E-BE74-6688E1FFD375}"/>
              </a:ext>
            </a:extLst>
          </p:cNvPr>
          <p:cNvSpPr txBox="1"/>
          <p:nvPr/>
        </p:nvSpPr>
        <p:spPr>
          <a:xfrm>
            <a:off x="634899" y="1457865"/>
            <a:ext cx="10677588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r>
              <a:rPr lang="en-US" sz="1900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termine Talent Buckets Based on 9 Box Findings</a:t>
            </a: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endParaRPr lang="en-US" sz="1900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r>
              <a:rPr lang="en-US" sz="1900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dentify Next Steps for the High Potential/Performance and Low Potential/Low Performance</a:t>
            </a: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endParaRPr lang="en-US" sz="1900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r>
              <a:rPr lang="en-US" sz="1900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vide Mitigation Plan based on Talent Risk Assessment</a:t>
            </a: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endParaRPr lang="en-US" sz="1900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buClr>
                <a:srgbClr val="FAA74A"/>
              </a:buClr>
              <a:buFont typeface="Arial" panose="020B0604020202020204" pitchFamily="34" charset="0"/>
              <a:buChar char="•"/>
            </a:pPr>
            <a:r>
              <a:rPr lang="en-US" sz="1900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dentify Support Needed for Talent Development Strategy</a:t>
            </a:r>
          </a:p>
        </p:txBody>
      </p:sp>
    </p:spTree>
    <p:extLst>
      <p:ext uri="{BB962C8B-B14F-4D97-AF65-F5344CB8AC3E}">
        <p14:creationId xmlns:p14="http://schemas.microsoft.com/office/powerpoint/2010/main" val="40069122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F1BFAA-0A50-255A-1459-F4BD7E22B7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D8E10D-55A3-335D-7308-76AD06B4812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609585"/>
            <a:fld id="{9EDC855F-5393-4ECC-82A4-1DDB6B23846B}" type="slidenum">
              <a:rPr lang="en-US">
                <a:solidFill>
                  <a:srgbClr val="1E3860">
                    <a:tint val="75000"/>
                  </a:srgb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defTabSz="609585"/>
              <a:t>8</a:t>
            </a:fld>
            <a:endParaRPr lang="en-US" dirty="0">
              <a:solidFill>
                <a:srgbClr val="1E3860">
                  <a:tint val="75000"/>
                </a:srgb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46F794AD-0024-A96F-AE17-13786FD8DEBD}"/>
              </a:ext>
            </a:extLst>
          </p:cNvPr>
          <p:cNvSpPr/>
          <p:nvPr/>
        </p:nvSpPr>
        <p:spPr>
          <a:xfrm>
            <a:off x="3403226" y="6049375"/>
            <a:ext cx="5859721" cy="640963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>
              <a:lnSpc>
                <a:spcPct val="107000"/>
              </a:lnSpc>
              <a:spcAft>
                <a:spcPts val="1067"/>
              </a:spcAft>
            </a:pPr>
            <a:r>
              <a:rPr lang="en-US" sz="1867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FORMANCE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EB1B51ED-4020-9A95-6638-C964C266DF9F}"/>
              </a:ext>
            </a:extLst>
          </p:cNvPr>
          <p:cNvSpPr/>
          <p:nvPr/>
        </p:nvSpPr>
        <p:spPr>
          <a:xfrm rot="16200000">
            <a:off x="-97570" y="3460613"/>
            <a:ext cx="4951919" cy="629440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>
              <a:lnSpc>
                <a:spcPct val="107000"/>
              </a:lnSpc>
              <a:spcAft>
                <a:spcPts val="1067"/>
              </a:spcAft>
            </a:pPr>
            <a:r>
              <a:rPr lang="en-US" sz="1867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TENTIA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E2BFB6A-410A-8F54-4AED-949178E94FB1}"/>
              </a:ext>
            </a:extLst>
          </p:cNvPr>
          <p:cNvSpPr/>
          <p:nvPr/>
        </p:nvSpPr>
        <p:spPr>
          <a:xfrm>
            <a:off x="7831461" y="1299367"/>
            <a:ext cx="2404129" cy="1521637"/>
          </a:xfrm>
          <a:prstGeom prst="rect">
            <a:avLst/>
          </a:prstGeom>
          <a:solidFill>
            <a:srgbClr val="CCFF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. STRETCH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CEA9243-45F6-8C39-A5A3-87B46DDD885A}"/>
              </a:ext>
            </a:extLst>
          </p:cNvPr>
          <p:cNvSpPr/>
          <p:nvPr/>
        </p:nvSpPr>
        <p:spPr>
          <a:xfrm>
            <a:off x="5378882" y="1294644"/>
            <a:ext cx="2404129" cy="1521637"/>
          </a:xfrm>
          <a:prstGeom prst="rect">
            <a:avLst/>
          </a:prstGeom>
          <a:solidFill>
            <a:srgbClr val="CCFF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8. STRETCH/DEVELO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686FE10-FA32-6433-DE4C-331C4FBE93C6}"/>
              </a:ext>
            </a:extLst>
          </p:cNvPr>
          <p:cNvSpPr/>
          <p:nvPr/>
        </p:nvSpPr>
        <p:spPr>
          <a:xfrm>
            <a:off x="2926310" y="1299374"/>
            <a:ext cx="2404129" cy="1521637"/>
          </a:xfrm>
          <a:prstGeom prst="rect">
            <a:avLst/>
          </a:prstGeom>
          <a:solidFill>
            <a:srgbClr val="FEF0D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7. DEVELOP</a:t>
            </a:r>
            <a:endParaRPr lang="en-US" sz="9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3D43BCB-2B12-C5F0-A746-948C01F66746}"/>
              </a:ext>
            </a:extLst>
          </p:cNvPr>
          <p:cNvSpPr/>
          <p:nvPr/>
        </p:nvSpPr>
        <p:spPr>
          <a:xfrm>
            <a:off x="7826738" y="2854078"/>
            <a:ext cx="2404129" cy="1521637"/>
          </a:xfrm>
          <a:prstGeom prst="rect">
            <a:avLst/>
          </a:prstGeom>
          <a:solidFill>
            <a:srgbClr val="CCFF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6. STRETCH/DEVELOP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62F980E-45D7-381E-D06C-76D99EBBEF8A}"/>
              </a:ext>
            </a:extLst>
          </p:cNvPr>
          <p:cNvSpPr/>
          <p:nvPr/>
        </p:nvSpPr>
        <p:spPr>
          <a:xfrm>
            <a:off x="5374160" y="2858806"/>
            <a:ext cx="2404129" cy="1521637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. DEVELOP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8417E33-EF38-3BB3-2259-9EC476B0679A}"/>
              </a:ext>
            </a:extLst>
          </p:cNvPr>
          <p:cNvSpPr/>
          <p:nvPr/>
        </p:nvSpPr>
        <p:spPr>
          <a:xfrm>
            <a:off x="2921588" y="2863535"/>
            <a:ext cx="2404129" cy="1521637"/>
          </a:xfrm>
          <a:prstGeom prst="rect">
            <a:avLst/>
          </a:prstGeom>
          <a:solidFill>
            <a:srgbClr val="FFC1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. OBSERVE</a:t>
            </a:r>
            <a:endParaRPr lang="en-US" sz="9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C1857F1-44B1-9963-81CD-BCE19CFE59B3}"/>
              </a:ext>
            </a:extLst>
          </p:cNvPr>
          <p:cNvSpPr/>
          <p:nvPr/>
        </p:nvSpPr>
        <p:spPr>
          <a:xfrm>
            <a:off x="7831468" y="4418243"/>
            <a:ext cx="2404129" cy="1521637"/>
          </a:xfrm>
          <a:prstGeom prst="rect">
            <a:avLst/>
          </a:prstGeom>
          <a:solidFill>
            <a:srgbClr val="FEF0D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. DEVELOP</a:t>
            </a:r>
            <a:endParaRPr lang="en-US" sz="9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0C2CEED-E7C7-F8DD-F83B-24CF3A63CF4B}"/>
              </a:ext>
            </a:extLst>
          </p:cNvPr>
          <p:cNvSpPr/>
          <p:nvPr/>
        </p:nvSpPr>
        <p:spPr>
          <a:xfrm>
            <a:off x="5378889" y="4422971"/>
            <a:ext cx="2404129" cy="1521637"/>
          </a:xfrm>
          <a:prstGeom prst="rect">
            <a:avLst/>
          </a:prstGeom>
          <a:solidFill>
            <a:srgbClr val="FFC1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en-US" sz="933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. OBSERVE</a:t>
            </a:r>
            <a:endParaRPr lang="en-US" sz="9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B2A6759-CFE7-8037-0FDE-BA86796AE9FB}"/>
              </a:ext>
            </a:extLst>
          </p:cNvPr>
          <p:cNvSpPr/>
          <p:nvPr/>
        </p:nvSpPr>
        <p:spPr>
          <a:xfrm>
            <a:off x="2926317" y="4427700"/>
            <a:ext cx="2404129" cy="1521637"/>
          </a:xfrm>
          <a:prstGeom prst="rect">
            <a:avLst/>
          </a:prstGeom>
          <a:solidFill>
            <a:srgbClr val="FFC1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. OBSERVE/EXIT</a:t>
            </a:r>
            <a:endParaRPr lang="en-US" sz="1600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F01EE88-DACB-80DE-3E38-88C8D389D508}"/>
              </a:ext>
            </a:extLst>
          </p:cNvPr>
          <p:cNvSpPr txBox="1"/>
          <p:nvPr/>
        </p:nvSpPr>
        <p:spPr>
          <a:xfrm>
            <a:off x="8006767" y="3396680"/>
            <a:ext cx="1641592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onald </a:t>
            </a:r>
            <a:r>
              <a:rPr lang="en-US" sz="1067" dirty="0" err="1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cuyan</a:t>
            </a:r>
            <a:endParaRPr lang="en-US" sz="1067" dirty="0">
              <a:solidFill>
                <a:schemeClr val="accent6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A4914E-725E-8FC8-DF13-B105278E15EA}"/>
              </a:ext>
            </a:extLst>
          </p:cNvPr>
          <p:cNvSpPr txBox="1"/>
          <p:nvPr/>
        </p:nvSpPr>
        <p:spPr>
          <a:xfrm>
            <a:off x="8006767" y="3188445"/>
            <a:ext cx="1829607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ristian </a:t>
            </a:r>
            <a:r>
              <a:rPr lang="en-US" sz="1067" dirty="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ailat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F71C03F-F141-C2BB-B361-6D30B845DB36}"/>
              </a:ext>
            </a:extLst>
          </p:cNvPr>
          <p:cNvSpPr txBox="1"/>
          <p:nvPr/>
        </p:nvSpPr>
        <p:spPr>
          <a:xfrm>
            <a:off x="478789" y="200777"/>
            <a:ext cx="1060123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dirty="0">
                <a:solidFill>
                  <a:srgbClr val="FAA74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BC 9 Box Review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000A5E1-4E83-575B-EFC2-DB055B743FB4}"/>
              </a:ext>
            </a:extLst>
          </p:cNvPr>
          <p:cNvGrpSpPr/>
          <p:nvPr/>
        </p:nvGrpSpPr>
        <p:grpSpPr>
          <a:xfrm>
            <a:off x="9918776" y="430141"/>
            <a:ext cx="2870049" cy="715416"/>
            <a:chOff x="9558775" y="410380"/>
            <a:chExt cx="3926302" cy="923642"/>
          </a:xfrm>
        </p:grpSpPr>
        <p:pic>
          <p:nvPicPr>
            <p:cNvPr id="8" name="Picture 7" descr="A blue and yellow logo&#10;&#10;Description automatically generated">
              <a:extLst>
                <a:ext uri="{FF2B5EF4-FFF2-40B4-BE49-F238E27FC236}">
                  <a16:creationId xmlns:a16="http://schemas.microsoft.com/office/drawing/2014/main" id="{ED87D9E6-DD99-9F23-EFF1-9EC934025A2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58775" y="410380"/>
              <a:ext cx="2387681" cy="52133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EAFDC23-9F72-6F21-4F36-5D3BB661ED45}"/>
                </a:ext>
              </a:extLst>
            </p:cNvPr>
            <p:cNvSpPr txBox="1"/>
            <p:nvPr/>
          </p:nvSpPr>
          <p:spPr>
            <a:xfrm>
              <a:off x="9933802" y="1087801"/>
              <a:ext cx="35512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kern="1500" spc="120" dirty="0">
                  <a:solidFill>
                    <a:srgbClr val="1E386A"/>
                  </a:solidFill>
                  <a:latin typeface="Libre Franklin" pitchFamily="2" charset="0"/>
                </a:rPr>
                <a:t>BUSINESS CENTER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90977884-920F-42AE-FD48-71640A389520}"/>
              </a:ext>
            </a:extLst>
          </p:cNvPr>
          <p:cNvSpPr txBox="1"/>
          <p:nvPr/>
        </p:nvSpPr>
        <p:spPr>
          <a:xfrm>
            <a:off x="5779407" y="1670644"/>
            <a:ext cx="1864695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x Santos</a:t>
            </a:r>
            <a:endParaRPr lang="en-US" sz="1067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20241F8-B84A-7741-8DF7-1CAF10C7F553}"/>
              </a:ext>
            </a:extLst>
          </p:cNvPr>
          <p:cNvSpPr txBox="1"/>
          <p:nvPr/>
        </p:nvSpPr>
        <p:spPr>
          <a:xfrm>
            <a:off x="5740132" y="1878909"/>
            <a:ext cx="1864695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nton </a:t>
            </a:r>
            <a:r>
              <a:rPr lang="en-US" sz="1067" dirty="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squera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B9E3BB8-9B6F-3805-3F2A-C25110A75104}"/>
              </a:ext>
            </a:extLst>
          </p:cNvPr>
          <p:cNvSpPr txBox="1"/>
          <p:nvPr/>
        </p:nvSpPr>
        <p:spPr>
          <a:xfrm>
            <a:off x="8006767" y="3604915"/>
            <a:ext cx="1641592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an </a:t>
            </a:r>
            <a:r>
              <a:rPr lang="en-US" sz="1067" dirty="0" err="1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bellana</a:t>
            </a:r>
            <a:endParaRPr lang="en-US" sz="1067" dirty="0">
              <a:solidFill>
                <a:schemeClr val="accent6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F92804F-C4EC-BCA1-E9F5-2784BB9F6730}"/>
              </a:ext>
            </a:extLst>
          </p:cNvPr>
          <p:cNvSpPr txBox="1"/>
          <p:nvPr/>
        </p:nvSpPr>
        <p:spPr>
          <a:xfrm>
            <a:off x="8006767" y="3815669"/>
            <a:ext cx="2186146" cy="2569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70" b="0" i="0" u="none" strike="noStrike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del Mahmoud </a:t>
            </a:r>
            <a:r>
              <a:rPr lang="en-US" sz="1070" b="0" i="0" u="none" strike="noStrike" dirty="0" err="1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adek</a:t>
            </a:r>
            <a:r>
              <a:rPr lang="en-US" sz="1070" b="0" i="0" u="none" strike="noStrike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070" b="0" i="0" u="none" strike="noStrike" dirty="0" err="1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lbediwy</a:t>
            </a:r>
            <a:r>
              <a:rPr lang="en-US" sz="107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endParaRPr lang="en-US" sz="1070" dirty="0">
              <a:solidFill>
                <a:schemeClr val="accent6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33A5B99-1EA3-B3D7-28BB-5B05D02C3AC3}"/>
              </a:ext>
            </a:extLst>
          </p:cNvPr>
          <p:cNvSpPr txBox="1"/>
          <p:nvPr/>
        </p:nvSpPr>
        <p:spPr>
          <a:xfrm>
            <a:off x="5718037" y="3646074"/>
            <a:ext cx="1762791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lson</a:t>
            </a:r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Wooden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BDA4E1C-3572-397E-D89A-563D7BB3DF5F}"/>
              </a:ext>
            </a:extLst>
          </p:cNvPr>
          <p:cNvSpPr txBox="1"/>
          <p:nvPr/>
        </p:nvSpPr>
        <p:spPr>
          <a:xfrm>
            <a:off x="5747579" y="3222763"/>
            <a:ext cx="1864695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riel Dimapilis</a:t>
            </a:r>
            <a:endParaRPr lang="en-US" sz="1067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F857135-DCA3-5723-B7B8-AA70D60CB4FB}"/>
              </a:ext>
            </a:extLst>
          </p:cNvPr>
          <p:cNvSpPr txBox="1"/>
          <p:nvPr/>
        </p:nvSpPr>
        <p:spPr>
          <a:xfrm>
            <a:off x="5740132" y="3434403"/>
            <a:ext cx="1864695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rwin </a:t>
            </a:r>
            <a:r>
              <a:rPr lang="en-US" sz="1067" dirty="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glang-awa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9EFB86D-E6F6-B10F-DFAA-A5C5C6E345AF}"/>
              </a:ext>
            </a:extLst>
          </p:cNvPr>
          <p:cNvSpPr txBox="1"/>
          <p:nvPr/>
        </p:nvSpPr>
        <p:spPr>
          <a:xfrm>
            <a:off x="5718037" y="3883841"/>
            <a:ext cx="1762791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trick Bernardo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27717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F1BFAA-0A50-255A-1459-F4BD7E22B7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D8E10D-55A3-335D-7308-76AD06B4812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609585"/>
            <a:fld id="{9EDC855F-5393-4ECC-82A4-1DDB6B23846B}" type="slidenum">
              <a:rPr lang="en-US">
                <a:solidFill>
                  <a:srgbClr val="1E3860">
                    <a:tint val="75000"/>
                  </a:srgb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defTabSz="609585"/>
              <a:t>9</a:t>
            </a:fld>
            <a:endParaRPr lang="en-US" dirty="0">
              <a:solidFill>
                <a:srgbClr val="1E3860">
                  <a:tint val="75000"/>
                </a:srgb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46F794AD-0024-A96F-AE17-13786FD8DEBD}"/>
              </a:ext>
            </a:extLst>
          </p:cNvPr>
          <p:cNvSpPr/>
          <p:nvPr/>
        </p:nvSpPr>
        <p:spPr>
          <a:xfrm>
            <a:off x="3403226" y="6049375"/>
            <a:ext cx="5859721" cy="640963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>
              <a:lnSpc>
                <a:spcPct val="107000"/>
              </a:lnSpc>
              <a:spcAft>
                <a:spcPts val="1067"/>
              </a:spcAft>
            </a:pPr>
            <a:r>
              <a:rPr lang="en-US" sz="1867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formance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EB1B51ED-4020-9A95-6638-C964C266DF9F}"/>
              </a:ext>
            </a:extLst>
          </p:cNvPr>
          <p:cNvSpPr/>
          <p:nvPr/>
        </p:nvSpPr>
        <p:spPr>
          <a:xfrm rot="16200000">
            <a:off x="-97570" y="3460613"/>
            <a:ext cx="4951919" cy="629440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>
              <a:lnSpc>
                <a:spcPct val="107000"/>
              </a:lnSpc>
              <a:spcAft>
                <a:spcPts val="1067"/>
              </a:spcAft>
            </a:pPr>
            <a:r>
              <a:rPr lang="en-US" sz="1867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en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E2BFB6A-410A-8F54-4AED-949178E94FB1}"/>
              </a:ext>
            </a:extLst>
          </p:cNvPr>
          <p:cNvSpPr/>
          <p:nvPr/>
        </p:nvSpPr>
        <p:spPr>
          <a:xfrm>
            <a:off x="7831461" y="1299367"/>
            <a:ext cx="2404129" cy="1521637"/>
          </a:xfrm>
          <a:prstGeom prst="rect">
            <a:avLst/>
          </a:prstGeom>
          <a:solidFill>
            <a:srgbClr val="EC849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. STRETCH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igh Retention/High Performance</a:t>
            </a:r>
            <a:endParaRPr lang="en-US" sz="1333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CEA9243-45F6-8C39-A5A3-87B46DDD885A}"/>
              </a:ext>
            </a:extLst>
          </p:cNvPr>
          <p:cNvSpPr/>
          <p:nvPr/>
        </p:nvSpPr>
        <p:spPr>
          <a:xfrm>
            <a:off x="5378882" y="1294644"/>
            <a:ext cx="2404129" cy="1521637"/>
          </a:xfrm>
          <a:prstGeom prst="rect">
            <a:avLst/>
          </a:prstGeom>
          <a:solidFill>
            <a:srgbClr val="FFFF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8. STRETCH/DEVELOP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igh Retention/Moderate Performance</a:t>
            </a:r>
          </a:p>
          <a:p>
            <a:pPr algn="ctr" defTabSz="609585"/>
            <a:endParaRPr lang="en-US" sz="13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686FE10-FA32-6433-DE4C-331C4FBE93C6}"/>
              </a:ext>
            </a:extLst>
          </p:cNvPr>
          <p:cNvSpPr/>
          <p:nvPr/>
        </p:nvSpPr>
        <p:spPr>
          <a:xfrm>
            <a:off x="2926310" y="1299374"/>
            <a:ext cx="2404129" cy="1521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7. DEVELOP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igh Retention/Low Performance</a:t>
            </a:r>
          </a:p>
          <a:p>
            <a:pPr algn="ctr" defTabSz="609585"/>
            <a:endParaRPr lang="en-US" sz="1333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 defTabSz="609585"/>
            <a:endParaRPr lang="en-US" sz="9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3D43BCB-2B12-C5F0-A746-948C01F66746}"/>
              </a:ext>
            </a:extLst>
          </p:cNvPr>
          <p:cNvSpPr/>
          <p:nvPr/>
        </p:nvSpPr>
        <p:spPr>
          <a:xfrm>
            <a:off x="7826738" y="2854078"/>
            <a:ext cx="2404129" cy="1521637"/>
          </a:xfrm>
          <a:prstGeom prst="rect">
            <a:avLst/>
          </a:prstGeom>
          <a:solidFill>
            <a:srgbClr val="FFFF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6. STRETCH/DEVELOP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derate Retention/ High Performanc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62F980E-45D7-381E-D06C-76D99EBBEF8A}"/>
              </a:ext>
            </a:extLst>
          </p:cNvPr>
          <p:cNvSpPr/>
          <p:nvPr/>
        </p:nvSpPr>
        <p:spPr>
          <a:xfrm>
            <a:off x="5374160" y="2858806"/>
            <a:ext cx="2404129" cy="1521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. DEVELOP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derate Retention/Moderate Performance</a:t>
            </a:r>
          </a:p>
          <a:p>
            <a:pPr algn="ctr" defTabSz="609585"/>
            <a:endParaRPr lang="en-US" sz="13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 defTabSz="609585"/>
            <a:endParaRPr lang="en-US" sz="13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8417E33-EF38-3BB3-2259-9EC476B0679A}"/>
              </a:ext>
            </a:extLst>
          </p:cNvPr>
          <p:cNvSpPr/>
          <p:nvPr/>
        </p:nvSpPr>
        <p:spPr>
          <a:xfrm>
            <a:off x="2921588" y="2863535"/>
            <a:ext cx="2404129" cy="1521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. OBSERVE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derate Retention/Low Performa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C1857F1-44B1-9963-81CD-BCE19CFE59B3}"/>
              </a:ext>
            </a:extLst>
          </p:cNvPr>
          <p:cNvSpPr/>
          <p:nvPr/>
        </p:nvSpPr>
        <p:spPr>
          <a:xfrm>
            <a:off x="7831468" y="4418243"/>
            <a:ext cx="2404129" cy="1521637"/>
          </a:xfrm>
          <a:prstGeom prst="rect">
            <a:avLst/>
          </a:prstGeom>
          <a:solidFill>
            <a:srgbClr val="CCFF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. DEVELOP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ow Retention/High Performanc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0C2CEED-E7C7-F8DD-F83B-24CF3A63CF4B}"/>
              </a:ext>
            </a:extLst>
          </p:cNvPr>
          <p:cNvSpPr/>
          <p:nvPr/>
        </p:nvSpPr>
        <p:spPr>
          <a:xfrm>
            <a:off x="5378889" y="4422971"/>
            <a:ext cx="2404129" cy="1521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en-US" sz="933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 defTabSz="609585"/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. OBSERVE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ow Retention/Moderate Performance</a:t>
            </a:r>
          </a:p>
          <a:p>
            <a:pPr algn="ctr" defTabSz="609585"/>
            <a:endParaRPr lang="en-US" sz="933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B2A6759-CFE7-8037-0FDE-BA86796AE9FB}"/>
              </a:ext>
            </a:extLst>
          </p:cNvPr>
          <p:cNvSpPr/>
          <p:nvPr/>
        </p:nvSpPr>
        <p:spPr>
          <a:xfrm>
            <a:off x="2926317" y="4427700"/>
            <a:ext cx="2404129" cy="152163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04792" indent="-304792" algn="ctr" defTabSz="609585">
              <a:buFontTx/>
              <a:buAutoNum type="arabicPeriod"/>
            </a:pPr>
            <a:r>
              <a:rPr lang="en-US" sz="1333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BSERVE/EXIT</a:t>
            </a:r>
          </a:p>
          <a:p>
            <a:pPr algn="ctr" defTabSz="609585"/>
            <a:r>
              <a:rPr lang="en-US" sz="933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ow Retention/Low Performance</a:t>
            </a:r>
          </a:p>
          <a:p>
            <a:pPr marL="304792" indent="-304792" algn="ctr" defTabSz="609585">
              <a:buFontTx/>
              <a:buAutoNum type="arabicPeriod"/>
            </a:pPr>
            <a:endParaRPr lang="en-US" sz="1600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FE7826B-2694-56DC-C163-50B3B454390D}"/>
              </a:ext>
            </a:extLst>
          </p:cNvPr>
          <p:cNvSpPr txBox="1">
            <a:spLocks/>
          </p:cNvSpPr>
          <p:nvPr/>
        </p:nvSpPr>
        <p:spPr>
          <a:xfrm>
            <a:off x="478789" y="706910"/>
            <a:ext cx="11334533" cy="295806"/>
          </a:xfrm>
          <a:prstGeom prst="rect">
            <a:avLst/>
          </a:prstGeom>
        </p:spPr>
        <p:txBody>
          <a:bodyPr/>
          <a:lstStyle>
            <a:lvl1pPr marL="0" indent="0" algn="l" defTabSz="342900" rtl="0" eaLnBrk="1" latinLnBrk="0" hangingPunct="1">
              <a:spcBef>
                <a:spcPct val="20000"/>
              </a:spcBef>
              <a:buFontTx/>
              <a:buNone/>
              <a:defRPr sz="1200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Clr>
                <a:srgbClr val="1E3860"/>
              </a:buClr>
              <a:buFont typeface="Wingdings" panose="05000000000000000000" pitchFamily="2" charset="2"/>
              <a:buChar char="§"/>
              <a:defRPr sz="1100" kern="1200">
                <a:solidFill>
                  <a:srgbClr val="17294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sz="1050" kern="1200">
                <a:solidFill>
                  <a:srgbClr val="17294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rgbClr val="17294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Clr>
                <a:srgbClr val="FAA661"/>
              </a:buClr>
              <a:buFontTx/>
              <a:buBlip>
                <a:blip r:embed="rId2"/>
              </a:buBlip>
              <a:defRPr sz="1000" kern="1200">
                <a:solidFill>
                  <a:srgbClr val="17294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/>
            <a:r>
              <a:rPr lang="en-US" sz="1600" b="1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formance by Retention Risk - </a:t>
            </a:r>
            <a:r>
              <a:rPr lang="en-US" sz="1500" dirty="0">
                <a:solidFill>
                  <a:srgbClr val="1E38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dentifies high performers with a high retention risk; may be useful in assessing retention plans for high performers.</a:t>
            </a:r>
          </a:p>
          <a:p>
            <a:pPr defTabSz="457189"/>
            <a:endParaRPr lang="en-US" sz="1600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281BC3-EC7A-0D4D-790E-979F77E720F8}"/>
              </a:ext>
            </a:extLst>
          </p:cNvPr>
          <p:cNvSpPr txBox="1"/>
          <p:nvPr/>
        </p:nvSpPr>
        <p:spPr>
          <a:xfrm>
            <a:off x="478789" y="200777"/>
            <a:ext cx="1060123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dirty="0">
                <a:solidFill>
                  <a:srgbClr val="FAA74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BC 9 Box Review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BF351A8-B70E-D5EC-1FAE-0863F31A2DFE}"/>
              </a:ext>
            </a:extLst>
          </p:cNvPr>
          <p:cNvSpPr txBox="1"/>
          <p:nvPr/>
        </p:nvSpPr>
        <p:spPr>
          <a:xfrm>
            <a:off x="8044721" y="3545574"/>
            <a:ext cx="1641592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onald </a:t>
            </a:r>
            <a:r>
              <a:rPr lang="en-US" sz="1067" dirty="0" err="1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cuyan</a:t>
            </a:r>
            <a:endParaRPr lang="en-US" sz="1067" dirty="0">
              <a:solidFill>
                <a:schemeClr val="accent6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F473461-E9EE-B17E-3CAA-DB3173917F4B}"/>
              </a:ext>
            </a:extLst>
          </p:cNvPr>
          <p:cNvSpPr txBox="1"/>
          <p:nvPr/>
        </p:nvSpPr>
        <p:spPr>
          <a:xfrm>
            <a:off x="8044721" y="3337339"/>
            <a:ext cx="1829607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ristian </a:t>
            </a:r>
            <a:r>
              <a:rPr lang="en-US" sz="1067" dirty="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ailat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8E0341F-CB97-C262-7C9A-14A9160ADBB0}"/>
              </a:ext>
            </a:extLst>
          </p:cNvPr>
          <p:cNvSpPr txBox="1"/>
          <p:nvPr/>
        </p:nvSpPr>
        <p:spPr>
          <a:xfrm>
            <a:off x="5817361" y="1819538"/>
            <a:ext cx="1864695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x Santos</a:t>
            </a:r>
            <a:endParaRPr lang="en-US" sz="1067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32B74A-5DB8-3B01-1274-CB5A90FD2C85}"/>
              </a:ext>
            </a:extLst>
          </p:cNvPr>
          <p:cNvSpPr txBox="1"/>
          <p:nvPr/>
        </p:nvSpPr>
        <p:spPr>
          <a:xfrm>
            <a:off x="5778086" y="2027803"/>
            <a:ext cx="1864695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nton </a:t>
            </a:r>
            <a:r>
              <a:rPr lang="en-US" sz="1067" dirty="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squera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4604C3D-D2A4-8F13-8B65-8437CA31A0F9}"/>
              </a:ext>
            </a:extLst>
          </p:cNvPr>
          <p:cNvSpPr txBox="1"/>
          <p:nvPr/>
        </p:nvSpPr>
        <p:spPr>
          <a:xfrm>
            <a:off x="8044721" y="3753809"/>
            <a:ext cx="1641592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an </a:t>
            </a:r>
            <a:r>
              <a:rPr lang="en-US" sz="1067" dirty="0" err="1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bellana</a:t>
            </a:r>
            <a:endParaRPr lang="en-US" sz="1067" dirty="0">
              <a:solidFill>
                <a:schemeClr val="accent6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C13ED94-173E-1C19-A486-B7F83BFDBAED}"/>
              </a:ext>
            </a:extLst>
          </p:cNvPr>
          <p:cNvSpPr txBox="1"/>
          <p:nvPr/>
        </p:nvSpPr>
        <p:spPr>
          <a:xfrm>
            <a:off x="8044721" y="3964563"/>
            <a:ext cx="2186146" cy="2569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70" b="0" i="0" u="none" strike="noStrike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del Mahmoud </a:t>
            </a:r>
            <a:r>
              <a:rPr lang="en-US" sz="1070" b="0" i="0" u="none" strike="noStrike" dirty="0" err="1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adek</a:t>
            </a:r>
            <a:r>
              <a:rPr lang="en-US" sz="1070" b="0" i="0" u="none" strike="noStrike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070" b="0" i="0" u="none" strike="noStrike" dirty="0" err="1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lbediwy</a:t>
            </a:r>
            <a:r>
              <a:rPr lang="en-US" sz="107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endParaRPr lang="en-US" sz="1070" dirty="0">
              <a:solidFill>
                <a:schemeClr val="accent6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0C39C53-E3EF-39E2-E2A9-7240B738479B}"/>
              </a:ext>
            </a:extLst>
          </p:cNvPr>
          <p:cNvSpPr txBox="1"/>
          <p:nvPr/>
        </p:nvSpPr>
        <p:spPr>
          <a:xfrm>
            <a:off x="5755991" y="3794968"/>
            <a:ext cx="1762791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lson</a:t>
            </a:r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Wooden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532B9E5-2395-73B2-BDA7-48E4F5FB9860}"/>
              </a:ext>
            </a:extLst>
          </p:cNvPr>
          <p:cNvSpPr txBox="1"/>
          <p:nvPr/>
        </p:nvSpPr>
        <p:spPr>
          <a:xfrm>
            <a:off x="5785533" y="3371657"/>
            <a:ext cx="1864695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riel Dimapilis</a:t>
            </a:r>
            <a:endParaRPr lang="en-US" sz="1067" b="1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C430BD6-F030-1ACF-1123-F039C1AADD3B}"/>
              </a:ext>
            </a:extLst>
          </p:cNvPr>
          <p:cNvSpPr txBox="1"/>
          <p:nvPr/>
        </p:nvSpPr>
        <p:spPr>
          <a:xfrm>
            <a:off x="5778086" y="3583297"/>
            <a:ext cx="1864695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rwin </a:t>
            </a:r>
            <a:r>
              <a:rPr lang="en-US" sz="1067" dirty="0" err="1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glang-awa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7078195-3346-773F-883B-2663DD41591A}"/>
              </a:ext>
            </a:extLst>
          </p:cNvPr>
          <p:cNvSpPr txBox="1"/>
          <p:nvPr/>
        </p:nvSpPr>
        <p:spPr>
          <a:xfrm>
            <a:off x="5755991" y="4032735"/>
            <a:ext cx="1762791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067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trick Bernardo</a:t>
            </a:r>
            <a:endParaRPr lang="en-US" sz="1067" dirty="0">
              <a:solidFill>
                <a:srgbClr val="1E38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49929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8eiHH9RCqBB4q3Kod6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E3860"/>
        </a:solidFill>
        <a:ln>
          <a:noFill/>
        </a:ln>
      </a:spPr>
      <a:bodyPr rtlCol="0" anchor="ctr"/>
      <a:lstStyle>
        <a:defPPr algn="ctr">
          <a:defRPr sz="900" b="1" dirty="0">
            <a:solidFill>
              <a:schemeClr val="tx1"/>
            </a:solidFill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Axos colors">
      <a:dk1>
        <a:srgbClr val="1E3860"/>
      </a:dk1>
      <a:lt1>
        <a:srgbClr val="FFFFFF"/>
      </a:lt1>
      <a:dk2>
        <a:srgbClr val="1E3860"/>
      </a:dk2>
      <a:lt2>
        <a:srgbClr val="FFFFFF"/>
      </a:lt2>
      <a:accent1>
        <a:srgbClr val="1E3860"/>
      </a:accent1>
      <a:accent2>
        <a:srgbClr val="FAA74A"/>
      </a:accent2>
      <a:accent3>
        <a:srgbClr val="DAE8ED"/>
      </a:accent3>
      <a:accent4>
        <a:srgbClr val="F4F4F4"/>
      </a:accent4>
      <a:accent5>
        <a:srgbClr val="FFFFFF"/>
      </a:accent5>
      <a:accent6>
        <a:srgbClr val="000000"/>
      </a:accent6>
      <a:hlink>
        <a:srgbClr val="0000FF"/>
      </a:hlink>
      <a:folHlink>
        <a:srgbClr val="800080"/>
      </a:folHlink>
    </a:clrScheme>
    <a:fontScheme name="Axos backup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accent1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000" dirty="0" smtClean="0">
            <a:solidFill>
              <a:schemeClr val="accent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0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Notes xmlns="6f2fa5ac-7dec-4cbe-86fa-573318355111" xsi:nil="true"/>
    <TaxCatchAll xmlns="03b3c6af-6731-48f5-9291-f450b72ba4cf" xsi:nil="true"/>
    <_ip_UnifiedCompliancePolicyProperties xmlns="http://schemas.microsoft.com/sharepoint/v3" xsi:nil="true"/>
    <lcf76f155ced4ddcb4097134ff3c332f xmlns="6f2fa5ac-7dec-4cbe-86fa-573318355111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98BAB9D7622A40A672F8D73D478863" ma:contentTypeVersion="15" ma:contentTypeDescription="Create a new document." ma:contentTypeScope="" ma:versionID="267416dd3f2c0c3cb00e18876e864ad7">
  <xsd:schema xmlns:xsd="http://www.w3.org/2001/XMLSchema" xmlns:xs="http://www.w3.org/2001/XMLSchema" xmlns:p="http://schemas.microsoft.com/office/2006/metadata/properties" xmlns:ns1="http://schemas.microsoft.com/sharepoint/v3" xmlns:ns2="6f2fa5ac-7dec-4cbe-86fa-573318355111" xmlns:ns3="03b3c6af-6731-48f5-9291-f450b72ba4cf" targetNamespace="http://schemas.microsoft.com/office/2006/metadata/properties" ma:root="true" ma:fieldsID="2f81ff49eeccf1127453b1411ff23bcc" ns1:_="" ns2:_="" ns3:_="">
    <xsd:import namespace="http://schemas.microsoft.com/sharepoint/v3"/>
    <xsd:import namespace="6f2fa5ac-7dec-4cbe-86fa-573318355111"/>
    <xsd:import namespace="03b3c6af-6731-48f5-9291-f450b72ba4c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Notes" minOccurs="0"/>
                <xsd:element ref="ns1:_ip_UnifiedCompliancePolicyProperties" minOccurs="0"/>
                <xsd:element ref="ns1:_ip_UnifiedCompliancePolicyUIAction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2fa5ac-7dec-4cbe-86fa-57331835511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Notes" ma:index="12" nillable="true" ma:displayName="Notes" ma:format="Dropdown" ma:internalName="Notes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39ca220a-e87b-485b-bf6d-df257632704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b3c6af-6731-48f5-9291-f450b72ba4cf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4ab01a05-565e-41d9-93cc-cc41c9f8d457}" ma:internalName="TaxCatchAll" ma:showField="CatchAllData" ma:web="03b3c6af-6731-48f5-9291-f450b72ba4c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4CB1CD1-A90C-441C-88CB-00C6BA48AEEE}">
  <ds:schemaRefs>
    <ds:schemaRef ds:uri="http://schemas.microsoft.com/sharepoint/v3"/>
    <ds:schemaRef ds:uri="http://purl.org/dc/terms/"/>
    <ds:schemaRef ds:uri="http://schemas.microsoft.com/office/2006/metadata/properties"/>
    <ds:schemaRef ds:uri="http://purl.org/dc/elements/1.1/"/>
    <ds:schemaRef ds:uri="03b3c6af-6731-48f5-9291-f450b72ba4cf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6f2fa5ac-7dec-4cbe-86fa-573318355111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B94D31B-06B0-4148-87C7-41A8B7E811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f2fa5ac-7dec-4cbe-86fa-573318355111"/>
    <ds:schemaRef ds:uri="03b3c6af-6731-48f5-9291-f450b72ba4c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70D3D97-D866-4388-9E95-B0EC3452126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025</TotalTime>
  <Words>1614</Words>
  <Application>Microsoft Office PowerPoint</Application>
  <PresentationFormat>Widescreen</PresentationFormat>
  <Paragraphs>288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Calibri</vt:lpstr>
      <vt:lpstr>Calibri Light</vt:lpstr>
      <vt:lpstr>Century Gothic</vt:lpstr>
      <vt:lpstr>Libre Franklin</vt:lpstr>
      <vt:lpstr>Roboto</vt:lpstr>
      <vt:lpstr>Verdana</vt:lpstr>
      <vt:lpstr>Wingdings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tential Scorecard Assessment &amp; Calibr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lerie Ann Martin</dc:creator>
  <cp:lastModifiedBy>Valerie Ann Martin</cp:lastModifiedBy>
  <cp:revision>270</cp:revision>
  <dcterms:created xsi:type="dcterms:W3CDTF">2024-11-27T18:20:03Z</dcterms:created>
  <dcterms:modified xsi:type="dcterms:W3CDTF">2025-03-24T00:2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C98BAB9D7622A40A672F8D73D478863</vt:lpwstr>
  </property>
</Properties>
</file>